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6" r:id="rId2"/>
    <p:sldId id="257" r:id="rId3"/>
    <p:sldId id="258" r:id="rId4"/>
  </p:sldIdLst>
  <p:sldSz cx="12192000" cy="6858000"/>
  <p:notesSz cx="6858000" cy="9144000"/>
  <p:defaultTextStyle>
    <a:defPPr>
      <a:defRPr lang="ru-RU"/>
    </a:defPPr>
    <a:lvl1pPr marL="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17" d="100"/>
          <a:sy n="117" d="100"/>
        </p:scale>
        <p:origin x="-318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4639879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19142722" name="Дата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5FB10002-51B7-469D-A51A-0E3FBDF0FEEC}" type="datetimeFigureOut">
              <a:rPr lang="ru-RU"/>
              <a:t>08.04.2026</a:t>
            </a:fld>
            <a:endParaRPr lang="ru-RU"/>
          </a:p>
        </p:txBody>
      </p:sp>
      <p:sp>
        <p:nvSpPr>
          <p:cNvPr id="316489714" name="Образ слайда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ru-RU"/>
          </a:p>
        </p:txBody>
      </p:sp>
      <p:sp>
        <p:nvSpPr>
          <p:cNvPr id="2060840806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151222799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52327809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AC70600E-6A9E-4357-8804-1CA48AA7425A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2639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AB290A8-BD8D-9424-D0FC-A0C2AB8029C4}" type="slidenum">
              <a:rPr/>
              <a:t>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5260481" name="Образ слайда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29165784" name="Заметки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98567411" name="Образ слайда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765882714" name="Заметки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Слайд с заголовком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4759642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975254236" name="Title 5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6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74746257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cxnSp>
        <p:nvCxnSpPr>
          <p:cNvPr id="35798568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0964330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922598489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59080058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452194189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595000843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23420859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892327044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720429695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761319434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727388851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849044216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464295453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6151074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80072449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37901052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339866442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991522119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459071487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978531439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367265310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501166278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596536476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092260041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89166296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232390056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1846794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1626825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8105400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926236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873581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4931520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6403102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4358179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3591005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6407371" y="5351713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grpSp>
        <p:nvGrpSpPr>
          <p:cNvPr id="397864587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7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043894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cxnSp>
        <p:nvCxnSpPr>
          <p:cNvPr id="439140101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1641850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099937317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100282522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934079118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136436575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34687940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127744452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85768011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471258331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78612920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563982757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850395411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815547587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185740403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440409986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314379342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406832678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02930994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664387387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861827023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029896351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02246984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918948289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050855945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914506709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5272867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4583598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9595312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53748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1473283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2601446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4611457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6673926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417447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11137841" y="1318105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grpSp>
        <p:nvGrpSpPr>
          <p:cNvPr id="1739827153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8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49702376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cxnSp>
        <p:nvCxnSpPr>
          <p:cNvPr id="427600020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4856902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791273041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768580215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919057557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917607062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240843329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88763970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571610255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062665534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356539500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315889317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336300968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497420591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82131687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522999367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572950370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897299125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540040708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432391086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966984463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542729108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426215005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408368624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493665302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229404257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311876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2267319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318867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0226474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817054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0301996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951769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6099193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628813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11137841" y="2661746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grpSp>
        <p:nvGrpSpPr>
          <p:cNvPr id="333931483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9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2716754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cxnSp>
        <p:nvCxnSpPr>
          <p:cNvPr id="1468081352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0601892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98394939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535945897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840600305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704185527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397412748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053315262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30707029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357179107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958624824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85186712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414875824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50714673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267246785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517113165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2" y="4124467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261998348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371723555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94069074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66668764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285903688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81965464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656328814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589803271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532697883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597205264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9077047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4752810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103501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5395223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2052745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851536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2838549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6817018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0770568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11137841" y="4008071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grpSp>
        <p:nvGrpSpPr>
          <p:cNvPr id="523324685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10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13257516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cxnSp>
        <p:nvCxnSpPr>
          <p:cNvPr id="1113047416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443606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106826584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490594433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878684619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155760417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71300677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6695520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964792127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105543972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595220539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466651134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297216931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62487789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03460349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953115504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326613567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196381746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851965696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583903077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969308969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338701041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767671114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80232220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390249586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2131747255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7107541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6727065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262054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3715980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416305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009667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858942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30855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0464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11137841" y="5351713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grpSp>
        <p:nvGrpSpPr>
          <p:cNvPr id="968792274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аблиц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0604052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754002643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979598787" name="Table Placeholder 40"/>
          <p:cNvSpPr>
            <a:spLocks noGrp="1"/>
          </p:cNvSpPr>
          <p:nvPr>
            <p:ph type="tbl" sz="quarter" idx="14"/>
          </p:nvPr>
        </p:nvSpPr>
        <p:spPr bwMode="auto">
          <a:xfrm>
            <a:off x="190407" y="1305290"/>
            <a:ext cx="7074168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0" i="0"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таблицы</a:t>
            </a:r>
            <a:endParaRPr/>
          </a:p>
        </p:txBody>
      </p:sp>
      <p:sp>
        <p:nvSpPr>
          <p:cNvPr id="204703538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449576" y="2122581"/>
            <a:ext cx="2969750" cy="1306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раткое текстовое описание данный таблицы, если оно требуется; вводное слово об информации в таблице.</a:t>
            </a:r>
            <a:endParaRPr/>
          </a:p>
        </p:txBody>
      </p:sp>
      <p:sp>
        <p:nvSpPr>
          <p:cNvPr id="1423530373" name="Picture Placeholder 25"/>
          <p:cNvSpPr>
            <a:spLocks noGrp="1"/>
          </p:cNvSpPr>
          <p:nvPr>
            <p:ph type="pic" sz="quarter" idx="22"/>
          </p:nvPr>
        </p:nvSpPr>
        <p:spPr bwMode="auto"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00" b="0" i="0">
                <a:solidFill>
                  <a:schemeClr val="accent6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927238368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802859236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86089792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121091335" name="Title 58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с таблицей</a:t>
            </a:r>
            <a:endParaRPr/>
          </a:p>
        </p:txBody>
      </p:sp>
      <p:grpSp>
        <p:nvGrpSpPr>
          <p:cNvPr id="74820684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969184367" name="Rectangle 3"/>
          <p:cNvSpPr/>
          <p:nvPr/>
        </p:nvSpPr>
        <p:spPr bwMode="auto"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endParaRPr sz="650">
              <a:latin typeface="Arial"/>
              <a:ea typeface="Arial"/>
              <a:cs typeface="Arial"/>
            </a:endParaRPr>
          </a:p>
        </p:txBody>
      </p:sp>
      <p:sp>
        <p:nvSpPr>
          <p:cNvPr id="1657185505" name="Picture Placeholder 25"/>
          <p:cNvSpPr>
            <a:spLocks noGrp="1"/>
          </p:cNvSpPr>
          <p:nvPr>
            <p:ph type="pic" sz="quarter" idx="21"/>
          </p:nvPr>
        </p:nvSpPr>
        <p:spPr bwMode="auto"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" b="0" i="0">
                <a:solidFill>
                  <a:schemeClr val="bg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аблица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132824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34275780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650711064" name="Table Placeholder 40"/>
          <p:cNvSpPr>
            <a:spLocks noGrp="1"/>
          </p:cNvSpPr>
          <p:nvPr>
            <p:ph type="tbl" sz="quarter" idx="14"/>
          </p:nvPr>
        </p:nvSpPr>
        <p:spPr bwMode="auto">
          <a:xfrm>
            <a:off x="190407" y="1305290"/>
            <a:ext cx="7074168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0" i="0"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таблицы</a:t>
            </a:r>
            <a:endParaRPr/>
          </a:p>
        </p:txBody>
      </p:sp>
      <p:sp>
        <p:nvSpPr>
          <p:cNvPr id="936275334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449576" y="2122581"/>
            <a:ext cx="2969750" cy="1306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раткое текстовое описание данный таблицы, если оно требуется; вводное слово об информации в таблице.</a:t>
            </a:r>
            <a:endParaRPr/>
          </a:p>
        </p:txBody>
      </p:sp>
      <p:sp>
        <p:nvSpPr>
          <p:cNvPr id="2103222792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382263625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944375884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92863420" name="Title 58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с таблицей</a:t>
            </a:r>
            <a:endParaRPr/>
          </a:p>
        </p:txBody>
      </p:sp>
      <p:grpSp>
        <p:nvGrpSpPr>
          <p:cNvPr id="259490229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аблица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5424125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183901998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696671164" name="Table Placeholder 40"/>
          <p:cNvSpPr>
            <a:spLocks noGrp="1"/>
          </p:cNvSpPr>
          <p:nvPr>
            <p:ph type="tbl" sz="quarter" idx="14"/>
          </p:nvPr>
        </p:nvSpPr>
        <p:spPr bwMode="auto">
          <a:xfrm>
            <a:off x="190407" y="1305290"/>
            <a:ext cx="11222793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0" i="0"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таблицы</a:t>
            </a:r>
            <a:endParaRPr/>
          </a:p>
        </p:txBody>
      </p:sp>
      <p:sp>
        <p:nvSpPr>
          <p:cNvPr id="1204402641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449576" y="5955971"/>
            <a:ext cx="2963624" cy="737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раткое текстовое описание данный таблицы,  если оно требуется; вводное слово об информации  в таблице. Краткое текстовое описание данный таблицы, если оно требуется; вводное слово об информации в таблице.</a:t>
            </a:r>
            <a:endParaRPr/>
          </a:p>
        </p:txBody>
      </p:sp>
      <p:sp>
        <p:nvSpPr>
          <p:cNvPr id="1654109000" name="Picture Placeholder 25"/>
          <p:cNvSpPr>
            <a:spLocks noGrp="1"/>
          </p:cNvSpPr>
          <p:nvPr>
            <p:ph type="pic" sz="quarter" idx="22"/>
          </p:nvPr>
        </p:nvSpPr>
        <p:spPr bwMode="auto"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00" b="0" i="0">
                <a:solidFill>
                  <a:schemeClr val="accent6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566459086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2134248115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3132377" y="620621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199478205" name="Title 58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с таблицей</a:t>
            </a:r>
            <a:endParaRPr/>
          </a:p>
        </p:txBody>
      </p:sp>
      <p:grpSp>
        <p:nvGrpSpPr>
          <p:cNvPr id="1687992129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720296652" name="Rectangle 3"/>
          <p:cNvSpPr/>
          <p:nvPr/>
        </p:nvSpPr>
        <p:spPr bwMode="auto"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endParaRPr sz="650">
              <a:latin typeface="Arial"/>
              <a:ea typeface="Arial"/>
              <a:cs typeface="Arial"/>
            </a:endParaRPr>
          </a:p>
        </p:txBody>
      </p:sp>
      <p:sp>
        <p:nvSpPr>
          <p:cNvPr id="2006788181" name="Picture Placeholder 25"/>
          <p:cNvSpPr>
            <a:spLocks noGrp="1"/>
          </p:cNvSpPr>
          <p:nvPr>
            <p:ph type="pic" sz="quarter" idx="21"/>
          </p:nvPr>
        </p:nvSpPr>
        <p:spPr bwMode="auto"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" b="0" i="0">
                <a:solidFill>
                  <a:schemeClr val="bg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аблица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68387236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068982879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444118431" name="Table Placeholder 40"/>
          <p:cNvSpPr>
            <a:spLocks noGrp="1"/>
          </p:cNvSpPr>
          <p:nvPr>
            <p:ph type="tbl" sz="quarter" idx="14"/>
          </p:nvPr>
        </p:nvSpPr>
        <p:spPr bwMode="auto">
          <a:xfrm>
            <a:off x="190407" y="1305290"/>
            <a:ext cx="11222793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0" i="0"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таблицы</a:t>
            </a:r>
            <a:endParaRPr/>
          </a:p>
        </p:txBody>
      </p:sp>
      <p:sp>
        <p:nvSpPr>
          <p:cNvPr id="743580505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449576" y="5955971"/>
            <a:ext cx="2963624" cy="737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раткое текстовое описание данный таблицы,  если оно требуется; вводное слово об информации  в таблице. Краткое текстовое описание данный таблицы, если оно требуется; вводное слово об информации в таблице.</a:t>
            </a:r>
            <a:endParaRPr/>
          </a:p>
        </p:txBody>
      </p:sp>
      <p:sp>
        <p:nvSpPr>
          <p:cNvPr id="1761942694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8237775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3132377" y="620621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464471261" name="Title 58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с таблицей</a:t>
            </a:r>
            <a:endParaRPr/>
          </a:p>
        </p:txBody>
      </p:sp>
      <p:grpSp>
        <p:nvGrpSpPr>
          <p:cNvPr id="247112697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аблица 4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39825227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22696815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889642672" name="Table Placeholder 40"/>
          <p:cNvSpPr>
            <a:spLocks noGrp="1"/>
          </p:cNvSpPr>
          <p:nvPr>
            <p:ph type="tbl" sz="quarter" idx="14"/>
          </p:nvPr>
        </p:nvSpPr>
        <p:spPr bwMode="auto">
          <a:xfrm>
            <a:off x="190407" y="1473326"/>
            <a:ext cx="11811187" cy="46824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0" i="0"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таблицы</a:t>
            </a:r>
            <a:endParaRPr/>
          </a:p>
        </p:txBody>
      </p:sp>
      <p:sp>
        <p:nvSpPr>
          <p:cNvPr id="1096680355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6106058" y="1000611"/>
            <a:ext cx="1641021" cy="25618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750" b="0" i="0" spc="0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ыполненные задачи</a:t>
            </a:r>
            <a:endParaRPr/>
          </a:p>
        </p:txBody>
      </p:sp>
      <p:sp>
        <p:nvSpPr>
          <p:cNvPr id="1884780757" name="Picture Placeholder 25"/>
          <p:cNvSpPr>
            <a:spLocks noGrp="1"/>
          </p:cNvSpPr>
          <p:nvPr>
            <p:ph type="pic" sz="quarter" idx="22"/>
          </p:nvPr>
        </p:nvSpPr>
        <p:spPr bwMode="auto"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00" b="0" i="0">
                <a:solidFill>
                  <a:schemeClr val="accent6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571945528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259684976" name="Title 58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5312719" cy="418288"/>
          </a:xfrm>
        </p:spPr>
        <p:txBody>
          <a:bodyPr/>
          <a:lstStyle/>
          <a:p>
            <a:pPr>
              <a:defRPr/>
            </a:pPr>
            <a:r>
              <a:rPr lang="ru-RU"/>
              <a:t>Слайд с таблицей</a:t>
            </a:r>
            <a:endParaRPr/>
          </a:p>
        </p:txBody>
      </p:sp>
      <p:grpSp>
        <p:nvGrpSpPr>
          <p:cNvPr id="1436080443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369761559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218469010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550975550" name="Rectangle 3"/>
          <p:cNvSpPr/>
          <p:nvPr/>
        </p:nvSpPr>
        <p:spPr bwMode="auto"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endParaRPr sz="650">
              <a:latin typeface="Arial"/>
              <a:ea typeface="Arial"/>
              <a:cs typeface="Arial"/>
            </a:endParaRPr>
          </a:p>
        </p:txBody>
      </p:sp>
      <p:sp>
        <p:nvSpPr>
          <p:cNvPr id="1292825555" name="Picture Placeholder 25"/>
          <p:cNvSpPr>
            <a:spLocks noGrp="1"/>
          </p:cNvSpPr>
          <p:nvPr>
            <p:ph type="pic" sz="quarter" idx="21"/>
          </p:nvPr>
        </p:nvSpPr>
        <p:spPr bwMode="auto"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" b="0" i="0">
                <a:solidFill>
                  <a:schemeClr val="bg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Слайд с заголовком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143092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235779373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649769113" name="Title 4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главление</a:t>
            </a:r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аблица 5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43927046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443880884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87645615" name="Table Placeholder 40"/>
          <p:cNvSpPr>
            <a:spLocks noGrp="1"/>
          </p:cNvSpPr>
          <p:nvPr>
            <p:ph type="tbl" sz="quarter" idx="14"/>
          </p:nvPr>
        </p:nvSpPr>
        <p:spPr bwMode="auto">
          <a:xfrm>
            <a:off x="190407" y="1473326"/>
            <a:ext cx="11811187" cy="46824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0" i="0"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таблицы</a:t>
            </a:r>
            <a:endParaRPr/>
          </a:p>
        </p:txBody>
      </p:sp>
      <p:sp>
        <p:nvSpPr>
          <p:cNvPr id="1710346091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6106058" y="1000611"/>
            <a:ext cx="1641021" cy="25618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750" b="0" i="0" spc="0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ыполненные задачи</a:t>
            </a:r>
            <a:endParaRPr/>
          </a:p>
        </p:txBody>
      </p:sp>
      <p:sp>
        <p:nvSpPr>
          <p:cNvPr id="880842643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871140135" name="Title 58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5312719" cy="418288"/>
          </a:xfrm>
        </p:spPr>
        <p:txBody>
          <a:bodyPr/>
          <a:lstStyle/>
          <a:p>
            <a:pPr>
              <a:defRPr/>
            </a:pPr>
            <a:r>
              <a:rPr lang="ru-RU"/>
              <a:t>Слайд с таблицей</a:t>
            </a:r>
            <a:endParaRPr/>
          </a:p>
        </p:txBody>
      </p:sp>
      <p:grpSp>
        <p:nvGrpSpPr>
          <p:cNvPr id="281803692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673076214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362833831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4 пун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6152183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48138632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422716066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3132377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1</a:t>
            </a:r>
            <a:endParaRPr/>
          </a:p>
        </p:txBody>
      </p:sp>
      <p:sp>
        <p:nvSpPr>
          <p:cNvPr id="1099842849" name="Picture Placeholder 25"/>
          <p:cNvSpPr>
            <a:spLocks noGrp="1"/>
          </p:cNvSpPr>
          <p:nvPr>
            <p:ph type="pic" sz="quarter" idx="22"/>
          </p:nvPr>
        </p:nvSpPr>
        <p:spPr bwMode="auto"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00" b="0" i="0">
                <a:solidFill>
                  <a:schemeClr val="accent6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360918064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22819" y="2443543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513916254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32377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1847355973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132377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</a:t>
            </a:r>
            <a:r>
              <a:rPr lang="en-US"/>
              <a:t>2</a:t>
            </a:r>
            <a:endParaRPr/>
          </a:p>
        </p:txBody>
      </p:sp>
      <p:sp>
        <p:nvSpPr>
          <p:cNvPr id="701364682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3122819" y="4813412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322959327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3132377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2128086759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51878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</a:t>
            </a:r>
            <a:r>
              <a:rPr lang="en-US"/>
              <a:t>3</a:t>
            </a:r>
            <a:endParaRPr/>
          </a:p>
        </p:txBody>
      </p:sp>
      <p:sp>
        <p:nvSpPr>
          <p:cNvPr id="1511389258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42320" y="2443543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440422257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51878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69450036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51878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</a:t>
            </a:r>
            <a:r>
              <a:rPr lang="en-US"/>
              <a:t>4</a:t>
            </a:r>
            <a:endParaRPr/>
          </a:p>
        </p:txBody>
      </p:sp>
      <p:sp>
        <p:nvSpPr>
          <p:cNvPr id="18244531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42320" y="4813412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1113589338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51878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1213514252" name="Title 22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grpSp>
        <p:nvGrpSpPr>
          <p:cNvPr id="2020629827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472872923" name="Rectangle 3"/>
          <p:cNvSpPr/>
          <p:nvPr/>
        </p:nvSpPr>
        <p:spPr bwMode="auto"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endParaRPr sz="650">
              <a:latin typeface="Arial"/>
              <a:ea typeface="Arial"/>
              <a:cs typeface="Arial"/>
            </a:endParaRPr>
          </a:p>
        </p:txBody>
      </p:sp>
      <p:sp>
        <p:nvSpPr>
          <p:cNvPr id="892349813" name="Picture Placeholder 25"/>
          <p:cNvSpPr>
            <a:spLocks noGrp="1"/>
          </p:cNvSpPr>
          <p:nvPr>
            <p:ph type="pic" sz="quarter" idx="21"/>
          </p:nvPr>
        </p:nvSpPr>
        <p:spPr bwMode="auto"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" b="0" i="0">
                <a:solidFill>
                  <a:schemeClr val="bg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4 пункта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3869609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54315117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24504618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3132377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1</a:t>
            </a:r>
            <a:endParaRPr/>
          </a:p>
        </p:txBody>
      </p:sp>
      <p:sp>
        <p:nvSpPr>
          <p:cNvPr id="117413674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22819" y="2443543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106453962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32377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203673990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132377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</a:t>
            </a:r>
            <a:r>
              <a:rPr lang="en-US"/>
              <a:t>2</a:t>
            </a:r>
            <a:endParaRPr/>
          </a:p>
        </p:txBody>
      </p:sp>
      <p:sp>
        <p:nvSpPr>
          <p:cNvPr id="1251846649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3122819" y="4813412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1529168854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3132377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742110255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51878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</a:t>
            </a:r>
            <a:r>
              <a:rPr lang="en-US"/>
              <a:t>3</a:t>
            </a:r>
            <a:endParaRPr/>
          </a:p>
        </p:txBody>
      </p:sp>
      <p:sp>
        <p:nvSpPr>
          <p:cNvPr id="1915674276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42320" y="2443543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1442901866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51878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1249106295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51878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</a:t>
            </a:r>
            <a:r>
              <a:rPr lang="en-US"/>
              <a:t>4</a:t>
            </a:r>
            <a:endParaRPr/>
          </a:p>
        </p:txBody>
      </p:sp>
      <p:sp>
        <p:nvSpPr>
          <p:cNvPr id="1214753281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42320" y="4813412"/>
            <a:ext cx="4119165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работка платформы внутри АФК</a:t>
            </a:r>
            <a:endParaRPr/>
          </a:p>
        </p:txBody>
      </p:sp>
      <p:sp>
        <p:nvSpPr>
          <p:cNvPr id="1789695604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51878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1085142278" name="Title 22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grpSp>
        <p:nvGrpSpPr>
          <p:cNvPr id="121746071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Изображ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24813456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53404162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408774983" name="Picture Placeholder 22"/>
          <p:cNvSpPr>
            <a:spLocks noGrp="1"/>
          </p:cNvSpPr>
          <p:nvPr>
            <p:ph type="pic" sz="quarter" idx="14"/>
          </p:nvPr>
        </p:nvSpPr>
        <p:spPr bwMode="auto">
          <a:xfrm>
            <a:off x="7264574" y="3429000"/>
            <a:ext cx="4927426" cy="343497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0" i="0">
                <a:solidFill>
                  <a:schemeClr val="bg1">
                    <a:lumMod val="65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98714238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4330410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Олег</a:t>
            </a:r>
            <a:r>
              <a:rPr lang="en-US"/>
              <a:t> </a:t>
            </a:r>
            <a:r>
              <a:rPr lang="ru-RU"/>
              <a:t>Шаповалов</a:t>
            </a:r>
            <a:endParaRPr lang="en-US"/>
          </a:p>
          <a:p>
            <a:pPr lvl="0">
              <a:defRPr/>
            </a:pPr>
            <a:endParaRPr lang="en-US"/>
          </a:p>
          <a:p>
            <a:pPr lvl="0">
              <a:defRPr/>
            </a:pPr>
            <a:r>
              <a:rPr lang="ru-RU"/>
              <a:t>Директор отдела финансов</a:t>
            </a:r>
            <a:endParaRPr/>
          </a:p>
        </p:txBody>
      </p:sp>
      <p:sp>
        <p:nvSpPr>
          <p:cNvPr id="1703633872" name="Title 26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8852043" cy="1985882"/>
          </a:xfrm>
        </p:spPr>
        <p:txBody>
          <a:bodyPr/>
          <a:lstStyle/>
          <a:p>
            <a:pPr>
              <a:defRPr/>
            </a:pPr>
            <a:r>
              <a:rPr lang="ru-RU"/>
              <a:t>«Мы повысили популярность среди возрастной категории 20-35 лет на 40%*, перевыполнив поставленную цель в два раза».</a:t>
            </a:r>
            <a:endParaRPr/>
          </a:p>
        </p:txBody>
      </p:sp>
      <p:grpSp>
        <p:nvGrpSpPr>
          <p:cNvPr id="2097755697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Изображение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084856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047616081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33554130" name="Picture Placeholder 22"/>
          <p:cNvSpPr>
            <a:spLocks noGrp="1"/>
          </p:cNvSpPr>
          <p:nvPr>
            <p:ph type="pic" sz="quarter" idx="14"/>
          </p:nvPr>
        </p:nvSpPr>
        <p:spPr bwMode="auto">
          <a:xfrm>
            <a:off x="0" y="2104855"/>
            <a:ext cx="8449576" cy="475314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0" i="0">
                <a:solidFill>
                  <a:schemeClr val="bg1">
                    <a:lumMod val="65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758242297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1"/>
            <a:ext cx="8852043" cy="993902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pPr>
              <a:defRPr/>
            </a:pPr>
            <a:r>
              <a:rPr lang="ru-RU"/>
              <a:t>Презентация </a:t>
            </a:r>
            <a:r>
              <a:rPr lang="en-GB"/>
              <a:t>CGI </a:t>
            </a:r>
            <a:r>
              <a:rPr lang="ru-RU"/>
              <a:t/>
            </a:r>
            <a:br>
              <a:rPr lang="ru-RU"/>
            </a:br>
            <a:r>
              <a:rPr lang="ru-RU"/>
              <a:t>контента</a:t>
            </a:r>
            <a:endParaRPr/>
          </a:p>
        </p:txBody>
      </p:sp>
      <p:sp>
        <p:nvSpPr>
          <p:cNvPr id="375416253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9055483" y="2104855"/>
            <a:ext cx="2946111" cy="127840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ы сделали немного контента, </a:t>
            </a:r>
            <a:br>
              <a:rPr lang="ru-RU"/>
            </a:br>
            <a:r>
              <a:rPr lang="ru-RU"/>
              <a:t>и предлагаем его посмотреть. </a:t>
            </a:r>
            <a:br>
              <a:rPr lang="ru-RU"/>
            </a:br>
            <a:r>
              <a:rPr lang="ru-RU"/>
              <a:t>Он очень красивый, и в целом интересно увидеть, как он работает.</a:t>
            </a:r>
            <a:endParaRPr/>
          </a:p>
        </p:txBody>
      </p:sp>
      <p:sp>
        <p:nvSpPr>
          <p:cNvPr id="217409649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9055483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754359509" name="Group 1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3" name="Rectangle 1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Видео-файл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8142539" name="Media Placeholder 3"/>
          <p:cNvSpPr>
            <a:spLocks noGrp="1"/>
          </p:cNvSpPr>
          <p:nvPr>
            <p:ph type="media" sz="quarter" idx="28"/>
          </p:nvPr>
        </p:nvSpPr>
        <p:spPr bwMode="auto">
          <a:xfrm>
            <a:off x="0" y="2104855"/>
            <a:ext cx="8449576" cy="4753145"/>
          </a:xfrm>
        </p:spPr>
        <p:txBody>
          <a:bodyPr anchor="ctr"/>
          <a:lstStyle>
            <a:lvl1pPr algn="ctr">
              <a:defRPr b="0" i="0">
                <a:solidFill>
                  <a:schemeClr val="bg1">
                    <a:lumMod val="65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клипа мультимедиа</a:t>
            </a:r>
            <a:endParaRPr/>
          </a:p>
        </p:txBody>
      </p:sp>
      <p:sp>
        <p:nvSpPr>
          <p:cNvPr id="180620804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284169743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079025131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1"/>
            <a:ext cx="8852043" cy="993902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pPr>
              <a:defRPr/>
            </a:pPr>
            <a:r>
              <a:rPr lang="ru-RU"/>
              <a:t>Презентация </a:t>
            </a:r>
            <a:r>
              <a:rPr lang="en-GB"/>
              <a:t>CGI </a:t>
            </a:r>
            <a:r>
              <a:rPr lang="ru-RU"/>
              <a:t/>
            </a:r>
            <a:br>
              <a:rPr lang="ru-RU"/>
            </a:br>
            <a:r>
              <a:rPr lang="ru-RU"/>
              <a:t>контента</a:t>
            </a:r>
            <a:endParaRPr/>
          </a:p>
        </p:txBody>
      </p:sp>
      <p:sp>
        <p:nvSpPr>
          <p:cNvPr id="1710307398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9055483" y="2104855"/>
            <a:ext cx="2946111" cy="127840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ы сделали немного контента, </a:t>
            </a:r>
            <a:br>
              <a:rPr lang="ru-RU"/>
            </a:br>
            <a:r>
              <a:rPr lang="ru-RU"/>
              <a:t>и предлагаем его посмотреть. </a:t>
            </a:r>
            <a:br>
              <a:rPr lang="ru-RU"/>
            </a:br>
            <a:r>
              <a:rPr lang="ru-RU"/>
              <a:t>Он очень красивый, и в целом интересно увидеть, как он работает.</a:t>
            </a:r>
            <a:endParaRPr/>
          </a:p>
        </p:txBody>
      </p:sp>
      <p:sp>
        <p:nvSpPr>
          <p:cNvPr id="1509459081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9055483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1816312946" name="Group 1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3" name="Rectangle 1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Изображение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776772088" name="Group 18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0" name="Rectangle 19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202402884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500012556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1">
                    <a:alpha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19633723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1453943"/>
            <a:ext cx="5319138" cy="1944334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bg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«Мы повысили популярность среди возрастной категории 20-35 лет на 40%*, перевыполнив поставленную цель в два раза».</a:t>
            </a:r>
            <a:endParaRPr/>
          </a:p>
        </p:txBody>
      </p:sp>
      <p:sp>
        <p:nvSpPr>
          <p:cNvPr id="461357755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51147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00" b="0" i="0" spc="28">
                <a:solidFill>
                  <a:schemeClr val="bg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Олег</a:t>
            </a:r>
            <a:r>
              <a:rPr lang="en-US"/>
              <a:t> </a:t>
            </a:r>
            <a:r>
              <a:rPr lang="ru-RU"/>
              <a:t>Шаповалов</a:t>
            </a:r>
            <a:endParaRPr lang="en-US"/>
          </a:p>
          <a:p>
            <a:pPr lvl="0">
              <a:defRPr/>
            </a:pPr>
            <a:endParaRPr lang="en-US"/>
          </a:p>
          <a:p>
            <a:pPr lvl="0">
              <a:defRPr/>
            </a:pPr>
            <a:r>
              <a:rPr lang="ru-RU"/>
              <a:t>Директор отдела финансов</a:t>
            </a:r>
            <a:endParaRPr/>
          </a:p>
        </p:txBody>
      </p:sp>
      <p:sp>
        <p:nvSpPr>
          <p:cNvPr id="1899983329" name="Picture Placeholder 17"/>
          <p:cNvSpPr>
            <a:spLocks noGrp="1"/>
          </p:cNvSpPr>
          <p:nvPr>
            <p:ph type="pic" sz="quarter" idx="28"/>
          </p:nvPr>
        </p:nvSpPr>
        <p:spPr bwMode="auto">
          <a:xfrm>
            <a:off x="6096000" y="0"/>
            <a:ext cx="6096000" cy="6858000"/>
          </a:xfrm>
          <a:custGeom>
            <a:avLst/>
            <a:gdLst>
              <a:gd name="connsiteX0" fmla="*/ 0 w 12960350"/>
              <a:gd name="connsiteY0" fmla="*/ 0 h 14579600"/>
              <a:gd name="connsiteX1" fmla="*/ 11322350 w 12960350"/>
              <a:gd name="connsiteY1" fmla="*/ 0 h 14579600"/>
              <a:gd name="connsiteX2" fmla="*/ 11322350 w 12960350"/>
              <a:gd name="connsiteY2" fmla="*/ 1638000 h 14579600"/>
              <a:gd name="connsiteX3" fmla="*/ 12960350 w 12960350"/>
              <a:gd name="connsiteY3" fmla="*/ 1638000 h 14579600"/>
              <a:gd name="connsiteX4" fmla="*/ 12960350 w 12960350"/>
              <a:gd name="connsiteY4" fmla="*/ 14579600 h 14579600"/>
              <a:gd name="connsiteX5" fmla="*/ 0 w 1296035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60350" h="14579600" extrusionOk="0">
                <a:moveTo>
                  <a:pt x="0" y="0"/>
                </a:moveTo>
                <a:lnTo>
                  <a:pt x="11322350" y="0"/>
                </a:lnTo>
                <a:lnTo>
                  <a:pt x="11322350" y="1638000"/>
                </a:lnTo>
                <a:lnTo>
                  <a:pt x="12960350" y="1638000"/>
                </a:lnTo>
                <a:lnTo>
                  <a:pt x="1296035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accent1">
                    <a:lumMod val="60000"/>
                    <a:lumOff val="4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Изображение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96330992" name="Group 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50898065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4139300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614746278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1453943"/>
            <a:ext cx="5319138" cy="1944334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«Мы повысили популярность среди возрастной категории 20-35 лет на 40%*, перевыполнив поставленную цель в два раза».</a:t>
            </a:r>
            <a:endParaRPr/>
          </a:p>
        </p:txBody>
      </p:sp>
      <p:sp>
        <p:nvSpPr>
          <p:cNvPr id="968213986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51147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00" b="0" i="0" spc="28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Олег</a:t>
            </a:r>
            <a:r>
              <a:rPr lang="en-US"/>
              <a:t> </a:t>
            </a:r>
            <a:r>
              <a:rPr lang="ru-RU"/>
              <a:t>Шаповалов</a:t>
            </a:r>
            <a:endParaRPr lang="en-US"/>
          </a:p>
          <a:p>
            <a:pPr lvl="0">
              <a:defRPr/>
            </a:pPr>
            <a:endParaRPr lang="en-US"/>
          </a:p>
          <a:p>
            <a:pPr lvl="0">
              <a:defRPr/>
            </a:pPr>
            <a:r>
              <a:rPr lang="ru-RU"/>
              <a:t>Директор отдела финансов</a:t>
            </a:r>
            <a:endParaRPr/>
          </a:p>
        </p:txBody>
      </p:sp>
      <p:sp>
        <p:nvSpPr>
          <p:cNvPr id="1596528616" name="Picture Placeholder 17"/>
          <p:cNvSpPr>
            <a:spLocks noGrp="1"/>
          </p:cNvSpPr>
          <p:nvPr>
            <p:ph type="pic" sz="quarter" idx="28"/>
          </p:nvPr>
        </p:nvSpPr>
        <p:spPr bwMode="auto">
          <a:xfrm>
            <a:off x="6096000" y="0"/>
            <a:ext cx="6096000" cy="6858000"/>
          </a:xfrm>
          <a:custGeom>
            <a:avLst/>
            <a:gdLst>
              <a:gd name="connsiteX0" fmla="*/ 0 w 12960350"/>
              <a:gd name="connsiteY0" fmla="*/ 0 h 14579600"/>
              <a:gd name="connsiteX1" fmla="*/ 11322350 w 12960350"/>
              <a:gd name="connsiteY1" fmla="*/ 0 h 14579600"/>
              <a:gd name="connsiteX2" fmla="*/ 11322350 w 12960350"/>
              <a:gd name="connsiteY2" fmla="*/ 1638000 h 14579600"/>
              <a:gd name="connsiteX3" fmla="*/ 12960350 w 12960350"/>
              <a:gd name="connsiteY3" fmla="*/ 1638000 h 14579600"/>
              <a:gd name="connsiteX4" fmla="*/ 12960350 w 12960350"/>
              <a:gd name="connsiteY4" fmla="*/ 14579600 h 14579600"/>
              <a:gd name="connsiteX5" fmla="*/ 0 w 1296035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60350" h="14579600" extrusionOk="0">
                <a:moveTo>
                  <a:pt x="0" y="0"/>
                </a:moveTo>
                <a:lnTo>
                  <a:pt x="11322350" y="0"/>
                </a:lnTo>
                <a:lnTo>
                  <a:pt x="11322350" y="1638000"/>
                </a:lnTo>
                <a:lnTo>
                  <a:pt x="12960350" y="1638000"/>
                </a:lnTo>
                <a:lnTo>
                  <a:pt x="1296035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bg2">
                    <a:lumMod val="75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Акциденция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919394048" name="Group 20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2" name="Rectangle 21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41451241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587942051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287847033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742118"/>
            <a:ext cx="2355515" cy="1220298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5 лет</a:t>
            </a:r>
            <a:br>
              <a:rPr lang="ru-RU"/>
            </a:br>
            <a:r>
              <a:rPr lang="ru-RU"/>
              <a:t>подряд</a:t>
            </a:r>
            <a:endParaRPr/>
          </a:p>
        </p:txBody>
      </p:sp>
      <p:sp>
        <p:nvSpPr>
          <p:cNvPr id="2071139994" name="Text Placeholder 12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132377" y="742117"/>
            <a:ext cx="7688696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defRPr lang="en-GB" sz="2350" b="0" i="0" cap="none" spc="71">
                <a:latin typeface="MTS Text Medium"/>
                <a:ea typeface="MTS Text Medium"/>
                <a:cs typeface="Arial Black"/>
              </a:defRPr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/>
            </a:lvl5pPr>
          </a:lstStyle>
          <a:p>
            <a:pPr lvl="0">
              <a:lnSpc>
                <a:spcPct val="90000"/>
              </a:lnSpc>
              <a:spcBef>
                <a:spcPts val="0"/>
              </a:spcBef>
              <a:buNone/>
              <a:defRPr/>
            </a:pPr>
            <a:r>
              <a:rPr lang="ru-RU"/>
              <a:t>В кино мы сопереживаем героям, испытываем те же эмоции. Все дело в законах драматургии, которые одинаковы для всех видов контента.</a:t>
            </a:r>
            <a:endParaRPr/>
          </a:p>
        </p:txBody>
      </p:sp>
      <p:sp>
        <p:nvSpPr>
          <p:cNvPr id="1517798722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2096662489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075997049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962832285" name="Text Placeholder 19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3132377" y="1796954"/>
            <a:ext cx="8289783" cy="32472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2600" b="0" i="0">
                <a:solidFill>
                  <a:srgbClr val="010604"/>
                </a:solidFill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49</a:t>
            </a:r>
            <a:r>
              <a:rPr lang="en-US"/>
              <a:t>%</a:t>
            </a:r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Акциденция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8309367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56109672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2048071641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622024139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56565229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00467585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7869734" y="5446360"/>
            <a:ext cx="2951338" cy="99390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00" b="0" i="0" spc="28">
                <a:solidFill>
                  <a:schemeClr val="accent6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оличество пользователей, присоединившихся в этом году </a:t>
            </a:r>
            <a:br>
              <a:rPr lang="ru-RU"/>
            </a:br>
            <a:r>
              <a:rPr lang="ru-RU"/>
              <a:t>в сервису </a:t>
            </a:r>
            <a:r>
              <a:rPr lang="en-GB"/>
              <a:t>KION.</a:t>
            </a:r>
            <a:endParaRPr/>
          </a:p>
        </p:txBody>
      </p:sp>
      <p:sp>
        <p:nvSpPr>
          <p:cNvPr id="1127010200" name="Title 10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>
              <a:defRPr/>
            </a:pPr>
            <a:r>
              <a:rPr lang="ru-RU"/>
              <a:t>Достижения</a:t>
            </a:r>
            <a:endParaRPr/>
          </a:p>
        </p:txBody>
      </p:sp>
      <p:grpSp>
        <p:nvGrpSpPr>
          <p:cNvPr id="1964182531" name="Group 1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5" name="Rectangle 1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191885981" name="Text Placeholder 3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1254148" y="2209737"/>
            <a:ext cx="9683706" cy="2438528"/>
          </a:xfrm>
          <a:prstGeom prst="roundRect">
            <a:avLst>
              <a:gd name="adj" fmla="val 50000"/>
            </a:avLst>
          </a:prstGeom>
          <a:ln w="25400">
            <a:solidFill>
              <a:schemeClr val="accent6"/>
            </a:solidFill>
          </a:ln>
        </p:spPr>
        <p:txBody>
          <a:bodyPr wrap="none" lIns="1620000" tIns="468000" rIns="1620000" bIns="468000" anchor="ctr">
            <a:spAutoFit/>
          </a:bodyPr>
          <a:lstStyle>
            <a:lvl1pPr algn="ctr">
              <a:defRPr sz="5150" b="0" i="0" cap="all">
                <a:solidFill>
                  <a:schemeClr val="accent6"/>
                </a:solidFill>
                <a:latin typeface="MTS Wide Medium"/>
                <a:ea typeface="MTS Wide Medium"/>
              </a:defRPr>
            </a:lvl1pPr>
          </a:lstStyle>
          <a:p>
            <a:pPr lvl="0">
              <a:defRPr/>
            </a:pPr>
            <a:r>
              <a:rPr lang="ru-RU"/>
              <a:t>6 миллионов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Слайд с заголовком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55026070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grpSp>
        <p:nvGrpSpPr>
          <p:cNvPr id="1856896205" name="Group 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549740953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39974580" name="Title 9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главление</a:t>
            </a: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2422103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300626225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428671010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3132377" y="2836300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bg1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1</a:t>
            </a:r>
            <a:endParaRPr/>
          </a:p>
        </p:txBody>
      </p:sp>
      <p:sp>
        <p:nvSpPr>
          <p:cNvPr id="487370997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190407" y="2836300"/>
            <a:ext cx="2334360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solidFill>
                  <a:schemeClr val="bg1">
                    <a:lumMod val="50000"/>
                  </a:schemeClr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Сделано</a:t>
            </a:r>
            <a:endParaRPr/>
          </a:p>
        </p:txBody>
      </p:sp>
      <p:sp>
        <p:nvSpPr>
          <p:cNvPr id="813231587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32377" y="3001663"/>
            <a:ext cx="2673906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solidFill>
                  <a:schemeClr val="bg1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</a:t>
            </a:r>
            <a:endParaRPr/>
          </a:p>
          <a:p>
            <a:pPr rtl="0">
              <a:defRPr/>
            </a:pPr>
            <a:r>
              <a:rPr lang="ru-RU"/>
              <a:t/>
            </a:r>
            <a:br>
              <a:rPr lang="ru-RU"/>
            </a:br>
            <a:endParaRPr lang="ru-RU"/>
          </a:p>
        </p:txBody>
      </p:sp>
      <p:sp>
        <p:nvSpPr>
          <p:cNvPr id="1522607936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1"/>
            <a:ext cx="5905593" cy="1204420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sp>
        <p:nvSpPr>
          <p:cNvPr id="1629040339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3132377" y="3569095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bg1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2</a:t>
            </a:r>
            <a:endParaRPr/>
          </a:p>
        </p:txBody>
      </p:sp>
      <p:sp>
        <p:nvSpPr>
          <p:cNvPr id="540438123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3132377" y="3734457"/>
            <a:ext cx="2673906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solidFill>
                  <a:schemeClr val="bg1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br>
              <a:rPr lang="ru-RU"/>
            </a:br>
            <a:endParaRPr lang="ru-RU"/>
          </a:p>
        </p:txBody>
      </p:sp>
      <p:sp>
        <p:nvSpPr>
          <p:cNvPr id="927902033" name="Text Placeholder 14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3132377" y="4429332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bg1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3</a:t>
            </a:r>
            <a:endParaRPr/>
          </a:p>
        </p:txBody>
      </p:sp>
      <p:sp>
        <p:nvSpPr>
          <p:cNvPr id="648148247" name="Text Placeholder 14"/>
          <p:cNvSpPr>
            <a:spLocks noGrp="1"/>
          </p:cNvSpPr>
          <p:nvPr>
            <p:ph type="body" sz="quarter" idx="39" hasCustomPrompt="1"/>
          </p:nvPr>
        </p:nvSpPr>
        <p:spPr bwMode="auto">
          <a:xfrm>
            <a:off x="3132377" y="4594694"/>
            <a:ext cx="2673906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solidFill>
                  <a:schemeClr val="bg1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Сделали аналитику по характеристикам аудитории сайта Первого канала</a:t>
            </a:r>
            <a:endParaRPr/>
          </a:p>
        </p:txBody>
      </p:sp>
      <p:cxnSp>
        <p:nvCxnSpPr>
          <p:cNvPr id="334878437" name="Straight Connector 26"/>
          <p:cNvCxnSpPr/>
          <p:nvPr/>
        </p:nvCxnSpPr>
        <p:spPr bwMode="auto">
          <a:xfrm>
            <a:off x="190407" y="2661358"/>
            <a:ext cx="561587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5711254" name="Text Placeholder 14"/>
          <p:cNvSpPr>
            <a:spLocks noGrp="1"/>
          </p:cNvSpPr>
          <p:nvPr>
            <p:ph type="body" sz="quarter" idx="40" hasCustomPrompt="1"/>
          </p:nvPr>
        </p:nvSpPr>
        <p:spPr bwMode="auto">
          <a:xfrm>
            <a:off x="9328434" y="2836300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1</a:t>
            </a:r>
            <a:endParaRPr/>
          </a:p>
        </p:txBody>
      </p:sp>
      <p:sp>
        <p:nvSpPr>
          <p:cNvPr id="364648826" name="Text Placeholder 14"/>
          <p:cNvSpPr>
            <a:spLocks noGrp="1"/>
          </p:cNvSpPr>
          <p:nvPr>
            <p:ph type="body" sz="quarter" idx="41" hasCustomPrompt="1"/>
          </p:nvPr>
        </p:nvSpPr>
        <p:spPr bwMode="auto">
          <a:xfrm>
            <a:off x="6386464" y="2836300"/>
            <a:ext cx="2334360" cy="711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Планы</a:t>
            </a:r>
            <a:endParaRPr/>
          </a:p>
        </p:txBody>
      </p:sp>
      <p:sp>
        <p:nvSpPr>
          <p:cNvPr id="772215832" name="Text Placeholder 14"/>
          <p:cNvSpPr>
            <a:spLocks noGrp="1"/>
          </p:cNvSpPr>
          <p:nvPr>
            <p:ph type="body" sz="quarter" idx="42" hasCustomPrompt="1"/>
          </p:nvPr>
        </p:nvSpPr>
        <p:spPr bwMode="auto">
          <a:xfrm>
            <a:off x="9328433" y="3001663"/>
            <a:ext cx="2673906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</a:t>
            </a:r>
            <a:endParaRPr/>
          </a:p>
          <a:p>
            <a:pPr rtl="0">
              <a:defRPr/>
            </a:pPr>
            <a:r>
              <a:rPr lang="ru-RU"/>
              <a:t/>
            </a:r>
            <a:br>
              <a:rPr lang="ru-RU"/>
            </a:br>
            <a:endParaRPr lang="ru-RU"/>
          </a:p>
        </p:txBody>
      </p:sp>
      <p:sp>
        <p:nvSpPr>
          <p:cNvPr id="167343154" name="Text Placeholder 14"/>
          <p:cNvSpPr>
            <a:spLocks noGrp="1"/>
          </p:cNvSpPr>
          <p:nvPr>
            <p:ph type="body" sz="quarter" idx="43" hasCustomPrompt="1"/>
          </p:nvPr>
        </p:nvSpPr>
        <p:spPr bwMode="auto">
          <a:xfrm>
            <a:off x="9328434" y="3569095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2</a:t>
            </a:r>
            <a:endParaRPr/>
          </a:p>
        </p:txBody>
      </p:sp>
      <p:sp>
        <p:nvSpPr>
          <p:cNvPr id="1132026959" name="Text Placeholder 14"/>
          <p:cNvSpPr>
            <a:spLocks noGrp="1"/>
          </p:cNvSpPr>
          <p:nvPr>
            <p:ph type="body" sz="quarter" idx="44" hasCustomPrompt="1"/>
          </p:nvPr>
        </p:nvSpPr>
        <p:spPr bwMode="auto">
          <a:xfrm>
            <a:off x="9328433" y="3734457"/>
            <a:ext cx="2673906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br>
              <a:rPr lang="ru-RU"/>
            </a:br>
            <a:endParaRPr lang="ru-RU"/>
          </a:p>
        </p:txBody>
      </p:sp>
      <p:sp>
        <p:nvSpPr>
          <p:cNvPr id="630664314" name="Text Placeholder 14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9328434" y="4429332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03</a:t>
            </a:r>
            <a:endParaRPr/>
          </a:p>
        </p:txBody>
      </p:sp>
      <p:sp>
        <p:nvSpPr>
          <p:cNvPr id="1729107071" name="Text Placeholder 14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9328433" y="4594694"/>
            <a:ext cx="2673906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28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Сделали аналитику по характеристикам аудитории сайта Первого канала</a:t>
            </a:r>
            <a:endParaRPr/>
          </a:p>
        </p:txBody>
      </p:sp>
      <p:cxnSp>
        <p:nvCxnSpPr>
          <p:cNvPr id="1786666885" name="Straight Connector 34"/>
          <p:cNvCxnSpPr/>
          <p:nvPr/>
        </p:nvCxnSpPr>
        <p:spPr bwMode="auto">
          <a:xfrm>
            <a:off x="6386464" y="2661358"/>
            <a:ext cx="56158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3709848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267390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14216782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9328433" y="6507468"/>
            <a:ext cx="2673160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1769026023" name="Group 38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0" name="Rectangle 39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42" name="Freeform 4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43" name="Freeform 4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5094240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4900573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618097405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742118"/>
            <a:ext cx="7667890" cy="1220298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Немного важного текста, суммирующего общий смысл абзацев, либо факт, который впоследствии подробнее раскрыт в тексте.</a:t>
            </a:r>
            <a:endParaRPr/>
          </a:p>
        </p:txBody>
      </p:sp>
      <p:sp>
        <p:nvSpPr>
          <p:cNvPr id="680701029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815869472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534997760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258164794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096000" y="3429000"/>
            <a:ext cx="4124731" cy="2931361"/>
          </a:xfrm>
          <a:prstGeom prst="rect">
            <a:avLst/>
          </a:prstGeom>
        </p:spPr>
        <p:txBody>
          <a:bodyPr lIns="0" tIns="0" rIns="0" bIns="0" anchor="t"/>
          <a:lstStyle>
            <a:lvl1pPr marL="241950" indent="-241950">
              <a:spcBef>
                <a:spcPts val="0"/>
              </a:spcBef>
              <a:spcAft>
                <a:spcPts val="3105"/>
              </a:spcAft>
              <a:buFont typeface="+mj-lt"/>
              <a:buAutoNum type="arabicPeriod"/>
              <a:defRPr sz="1300" b="0" i="0" spc="28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</a:t>
            </a:r>
            <a:br>
              <a:rPr lang="ru-RU"/>
            </a:br>
            <a:r>
              <a:rPr lang="ru-RU"/>
              <a:t>он позволяет отслеживать заходы </a:t>
            </a:r>
            <a:br>
              <a:rPr lang="ru-RU"/>
            </a:br>
            <a:r>
              <a:rPr lang="ru-RU"/>
              <a:t>на различные страницы сайта ХХХ  </a:t>
            </a:r>
            <a:endParaRPr/>
          </a:p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  </a:t>
            </a:r>
            <a:endParaRPr/>
          </a:p>
          <a:p>
            <a:pPr rtl="0">
              <a:defRPr/>
            </a:pPr>
            <a:r>
              <a:rPr lang="ru-RU"/>
              <a:t>Сделали аналитику по характеристикам аудитории сайта Первого канала</a:t>
            </a:r>
            <a:endParaRPr/>
          </a:p>
        </p:txBody>
      </p:sp>
      <p:grpSp>
        <p:nvGrpSpPr>
          <p:cNvPr id="89248456" name="Group 10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2" name="Rectangle 11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406840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999921269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478801830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7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983341276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32376" y="2446120"/>
            <a:ext cx="4132198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sp>
        <p:nvSpPr>
          <p:cNvPr id="863727193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630665" cy="834154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cxnSp>
        <p:nvCxnSpPr>
          <p:cNvPr id="743470209" name="Straight Connector 26"/>
          <p:cNvCxnSpPr/>
          <p:nvPr/>
        </p:nvCxnSpPr>
        <p:spPr bwMode="auto">
          <a:xfrm>
            <a:off x="3132377" y="2008215"/>
            <a:ext cx="41321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6204279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190407" y="2446121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186241302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300512" y="3325058"/>
            <a:ext cx="3964062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/>
              <a:buChar char="§"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</p:txBody>
      </p:sp>
      <p:sp>
        <p:nvSpPr>
          <p:cNvPr id="294871304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3132377" y="452666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1261941901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3132376" y="4840517"/>
            <a:ext cx="4132197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cxnSp>
        <p:nvCxnSpPr>
          <p:cNvPr id="1064965855" name="Straight Connector 16"/>
          <p:cNvCxnSpPr/>
          <p:nvPr/>
        </p:nvCxnSpPr>
        <p:spPr bwMode="auto">
          <a:xfrm>
            <a:off x="3132377" y="4402612"/>
            <a:ext cx="41321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6890013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3300512" y="5719455"/>
            <a:ext cx="3964061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/>
              <a:buChar char="§"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</p:txBody>
      </p:sp>
      <p:sp>
        <p:nvSpPr>
          <p:cNvPr id="66818821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54073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1889807694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54072" y="2446120"/>
            <a:ext cx="4147521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cxnSp>
        <p:nvCxnSpPr>
          <p:cNvPr id="114816659" name="Straight Connector 25"/>
          <p:cNvCxnSpPr/>
          <p:nvPr/>
        </p:nvCxnSpPr>
        <p:spPr bwMode="auto">
          <a:xfrm>
            <a:off x="7854073" y="2008215"/>
            <a:ext cx="414752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0926527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8022208" y="3325058"/>
            <a:ext cx="3979386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/>
              <a:buChar char="§"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</p:txBody>
      </p:sp>
      <p:sp>
        <p:nvSpPr>
          <p:cNvPr id="1130479273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54073" y="452666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761221002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54072" y="4840517"/>
            <a:ext cx="4147521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/>
          </a:p>
        </p:txBody>
      </p:sp>
      <p:cxnSp>
        <p:nvCxnSpPr>
          <p:cNvPr id="381145019" name="Straight Connector 40"/>
          <p:cNvCxnSpPr/>
          <p:nvPr/>
        </p:nvCxnSpPr>
        <p:spPr bwMode="auto">
          <a:xfrm>
            <a:off x="7854073" y="4402612"/>
            <a:ext cx="414752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1948858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8022208" y="5719455"/>
            <a:ext cx="3979386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/>
              <a:buChar char="§"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</p:txBody>
      </p:sp>
      <p:sp>
        <p:nvSpPr>
          <p:cNvPr id="523799801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190407" y="280699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138540843" name="Group 4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1" name="Rectangle 50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52" name="Freeform 51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53" name="Freeform 52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54" name="Freeform 5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0507095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264854726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2043739545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6115216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992870019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6112542" y="2446120"/>
            <a:ext cx="5300658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</a:t>
            </a:r>
            <a:r>
              <a:rPr lang="en-US"/>
              <a:t/>
            </a:r>
            <a:br>
              <a:rPr lang="en-US"/>
            </a:br>
            <a:r>
              <a:rPr lang="ru-RU"/>
              <a:t>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</a:t>
            </a:r>
            <a:r>
              <a:rPr lang="en-US"/>
              <a:t/>
            </a:r>
            <a:br>
              <a:rPr lang="en-US"/>
            </a:br>
            <a:r>
              <a:rPr lang="ru-RU"/>
              <a:t>аналитики.</a:t>
            </a:r>
            <a:endParaRPr/>
          </a:p>
        </p:txBody>
      </p:sp>
      <p:sp>
        <p:nvSpPr>
          <p:cNvPr id="996352808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630665" cy="834154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cxnSp>
        <p:nvCxnSpPr>
          <p:cNvPr id="1892003342" name="Straight Connector 26"/>
          <p:cNvCxnSpPr/>
          <p:nvPr/>
        </p:nvCxnSpPr>
        <p:spPr bwMode="auto">
          <a:xfrm>
            <a:off x="6112542" y="2008215"/>
            <a:ext cx="588905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5270784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112542" y="3820598"/>
            <a:ext cx="3964062" cy="1447160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/>
              <a:buChar char="§"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 lang="en-US"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  <a:p>
            <a:pPr rtl="0">
              <a:defRPr/>
            </a:pPr>
            <a:endParaRPr lang="ru-RU"/>
          </a:p>
        </p:txBody>
      </p:sp>
      <p:sp>
        <p:nvSpPr>
          <p:cNvPr id="1486757197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9065821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314697069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611254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981895321" name="Group 24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8" name="Rectangle 27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30" name="Freeform 29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31" name="Freeform 30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4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30002636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39788945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577959657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32377" y="2075030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  <a:endParaRPr/>
          </a:p>
        </p:txBody>
      </p:sp>
      <p:sp>
        <p:nvSpPr>
          <p:cNvPr id="1839277218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630665" cy="834154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sp>
        <p:nvSpPr>
          <p:cNvPr id="1008803414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132376" y="4060861"/>
            <a:ext cx="7078648" cy="2013059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lnSpc>
                <a:spcPct val="90000"/>
              </a:lnSpc>
              <a:spcBef>
                <a:spcPts val="0"/>
              </a:spcBef>
              <a:buSzPct val="70000"/>
              <a:buFont typeface="Wingdings"/>
              <a:buChar char="§"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 lang="en-US"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  <a:p>
            <a:pPr rtl="0">
              <a:defRPr/>
            </a:pPr>
            <a:endParaRPr lang="ru-RU"/>
          </a:p>
        </p:txBody>
      </p:sp>
      <p:sp>
        <p:nvSpPr>
          <p:cNvPr id="2032876053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7863422" y="2075030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  <a:endParaRPr/>
          </a:p>
        </p:txBody>
      </p:sp>
      <p:sp>
        <p:nvSpPr>
          <p:cNvPr id="2023463895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190407" y="207503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830180665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190407" y="2435906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1106883368" name="Group 16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5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9632214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76325295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382694784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630665" cy="834154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sp>
        <p:nvSpPr>
          <p:cNvPr id="1318397657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132376" y="4541678"/>
            <a:ext cx="7078648" cy="2013059"/>
          </a:xfrm>
          <a:prstGeom prst="rect">
            <a:avLst/>
          </a:prstGeom>
        </p:spPr>
        <p:txBody>
          <a:bodyPr lIns="0" tIns="0" rIns="0" bIns="0"/>
          <a:lstStyle>
            <a:lvl1pPr marL="274061" marR="0" indent="-274061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Blip>
                <a:blip r:embed="rId2"/>
              </a:buBlip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Поставим с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 </a:t>
            </a:r>
            <a:endParaRPr/>
          </a:p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  <a:p>
            <a:pPr rtl="0">
              <a:defRPr/>
            </a:pPr>
            <a:r>
              <a:rPr lang="ru-RU"/>
              <a:t>Поставим счётчик на сайт ХХХ</a:t>
            </a:r>
            <a:endParaRPr/>
          </a:p>
          <a:p>
            <a:pPr rtl="0">
              <a:defRPr/>
            </a:pPr>
            <a:r>
              <a:rPr lang="ru-RU"/>
              <a:t>ХХХ млн людей / месяц</a:t>
            </a:r>
            <a:endParaRPr/>
          </a:p>
        </p:txBody>
      </p:sp>
      <p:sp>
        <p:nvSpPr>
          <p:cNvPr id="1705259810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190407" y="207503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684346970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190407" y="2435906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358600414" name="Text Placeholder 14"/>
          <p:cNvSpPr>
            <a:spLocks noGrp="1"/>
          </p:cNvSpPr>
          <p:nvPr>
            <p:ph type="body" sz="quarter" idx="39" hasCustomPrompt="1"/>
          </p:nvPr>
        </p:nvSpPr>
        <p:spPr bwMode="auto">
          <a:xfrm>
            <a:off x="3132376" y="2109105"/>
            <a:ext cx="7078648" cy="530227"/>
          </a:xfrm>
          <a:prstGeom prst="rect">
            <a:avLst/>
          </a:prstGeom>
        </p:spPr>
        <p:txBody>
          <a:bodyPr lIns="0" tIns="0" rIns="0" bIns="0"/>
          <a:lstStyle>
            <a:lvl1pPr marL="274061" marR="0" indent="-274061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en-GB"/>
              <a:t>C</a:t>
            </a:r>
            <a:r>
              <a:rPr lang="ru-RU"/>
              <a:t>овершенно репрезентативная выборка</a:t>
            </a:r>
            <a:endParaRPr/>
          </a:p>
        </p:txBody>
      </p:sp>
      <p:sp>
        <p:nvSpPr>
          <p:cNvPr id="1502606411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725251" y="2714892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  <a:r>
              <a:rPr lang="en-US"/>
              <a:t/>
            </a:r>
            <a:br>
              <a:rPr lang="en-US"/>
            </a:br>
            <a:r>
              <a:rPr lang="ru-RU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  <a:endParaRPr/>
          </a:p>
          <a:p>
            <a:pPr rtl="0">
              <a:defRPr/>
            </a:pPr>
            <a:endParaRPr lang="ru-RU"/>
          </a:p>
        </p:txBody>
      </p:sp>
      <p:grpSp>
        <p:nvGrpSpPr>
          <p:cNvPr id="780872107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6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3796819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591828192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334583949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630665" cy="470327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sp>
        <p:nvSpPr>
          <p:cNvPr id="136823286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190407" y="5224111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598647438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190407" y="558498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2033429254" name="Picture Placeholder 10"/>
          <p:cNvSpPr>
            <a:spLocks noGrp="1"/>
          </p:cNvSpPr>
          <p:nvPr>
            <p:ph type="pic" sz="quarter" idx="39"/>
          </p:nvPr>
        </p:nvSpPr>
        <p:spPr bwMode="auto">
          <a:xfrm>
            <a:off x="99010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214283880" name="Picture Placeholder 10"/>
          <p:cNvSpPr>
            <a:spLocks noGrp="1"/>
          </p:cNvSpPr>
          <p:nvPr>
            <p:ph type="pic" sz="quarter" idx="40"/>
          </p:nvPr>
        </p:nvSpPr>
        <p:spPr bwMode="auto">
          <a:xfrm>
            <a:off x="4226068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010788557" name="Picture Placeholder 10"/>
          <p:cNvSpPr>
            <a:spLocks noGrp="1"/>
          </p:cNvSpPr>
          <p:nvPr>
            <p:ph type="pic" sz="quarter" idx="41"/>
          </p:nvPr>
        </p:nvSpPr>
        <p:spPr bwMode="auto">
          <a:xfrm>
            <a:off x="4226068" y="4277764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60666830" name="Picture Placeholder 10"/>
          <p:cNvSpPr>
            <a:spLocks noGrp="1"/>
          </p:cNvSpPr>
          <p:nvPr>
            <p:ph type="pic" sz="quarter" idx="42"/>
          </p:nvPr>
        </p:nvSpPr>
        <p:spPr bwMode="auto">
          <a:xfrm>
            <a:off x="8363580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296348091" name="Picture Placeholder 10"/>
          <p:cNvSpPr>
            <a:spLocks noGrp="1"/>
          </p:cNvSpPr>
          <p:nvPr>
            <p:ph type="pic" sz="quarter" idx="43"/>
          </p:nvPr>
        </p:nvSpPr>
        <p:spPr bwMode="auto">
          <a:xfrm>
            <a:off x="8363580" y="4277764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461823161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190407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563554000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190407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1107719602" name="Text Placeholder 14"/>
          <p:cNvSpPr>
            <a:spLocks noGrp="1"/>
          </p:cNvSpPr>
          <p:nvPr>
            <p:ph type="body" sz="quarter" idx="44" hasCustomPrompt="1"/>
          </p:nvPr>
        </p:nvSpPr>
        <p:spPr bwMode="auto">
          <a:xfrm>
            <a:off x="4324586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1335361929" name="Text Placeholder 14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4324586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628836474" name="Text Placeholder 14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8458765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282383880" name="Text Placeholder 14"/>
          <p:cNvSpPr>
            <a:spLocks noGrp="1"/>
          </p:cNvSpPr>
          <p:nvPr>
            <p:ph type="body" sz="quarter" idx="47" hasCustomPrompt="1"/>
          </p:nvPr>
        </p:nvSpPr>
        <p:spPr bwMode="auto">
          <a:xfrm>
            <a:off x="8458765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923818303" name="Text Placeholder 14"/>
          <p:cNvSpPr>
            <a:spLocks noGrp="1"/>
          </p:cNvSpPr>
          <p:nvPr>
            <p:ph type="body" sz="quarter" idx="48" hasCustomPrompt="1"/>
          </p:nvPr>
        </p:nvSpPr>
        <p:spPr bwMode="auto">
          <a:xfrm>
            <a:off x="4324586" y="517582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739755581" name="Text Placeholder 14"/>
          <p:cNvSpPr>
            <a:spLocks noGrp="1"/>
          </p:cNvSpPr>
          <p:nvPr>
            <p:ph type="body" sz="quarter" idx="49" hasCustomPrompt="1"/>
          </p:nvPr>
        </p:nvSpPr>
        <p:spPr bwMode="auto">
          <a:xfrm>
            <a:off x="4324586" y="5489676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1645621623" name="Text Placeholder 14"/>
          <p:cNvSpPr>
            <a:spLocks noGrp="1"/>
          </p:cNvSpPr>
          <p:nvPr>
            <p:ph type="body" sz="quarter" idx="50" hasCustomPrompt="1"/>
          </p:nvPr>
        </p:nvSpPr>
        <p:spPr bwMode="auto">
          <a:xfrm>
            <a:off x="8458765" y="517582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1187339427" name="Text Placeholder 14"/>
          <p:cNvSpPr>
            <a:spLocks noGrp="1"/>
          </p:cNvSpPr>
          <p:nvPr>
            <p:ph type="body" sz="quarter" idx="51" hasCustomPrompt="1"/>
          </p:nvPr>
        </p:nvSpPr>
        <p:spPr bwMode="auto">
          <a:xfrm>
            <a:off x="8458765" y="5489676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grpSp>
        <p:nvGrpSpPr>
          <p:cNvPr id="1404260967" name="Group 3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33" name="Rectangle 3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" name="Freeform 3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35" name="Freeform 3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с изображением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364480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884014349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346590729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630665" cy="470327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sp>
        <p:nvSpPr>
          <p:cNvPr id="2025067599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4324586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349748633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4324586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292809001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190407" y="1858132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1428823862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190407" y="2191048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397099239" name="Text Placeholder 14"/>
          <p:cNvSpPr>
            <a:spLocks noGrp="1"/>
          </p:cNvSpPr>
          <p:nvPr>
            <p:ph type="body" sz="quarter" idx="44" hasCustomPrompt="1"/>
          </p:nvPr>
        </p:nvSpPr>
        <p:spPr bwMode="auto">
          <a:xfrm>
            <a:off x="4324586" y="1858132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688435974" name="Text Placeholder 14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8458765" y="1858132"/>
            <a:ext cx="2954435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492052561" name="Text Placeholder 14"/>
          <p:cNvSpPr>
            <a:spLocks noGrp="1"/>
          </p:cNvSpPr>
          <p:nvPr>
            <p:ph type="body" sz="quarter" idx="52" hasCustomPrompt="1"/>
          </p:nvPr>
        </p:nvSpPr>
        <p:spPr bwMode="auto">
          <a:xfrm>
            <a:off x="4324586" y="2191048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826984908" name="Text Placeholder 14"/>
          <p:cNvSpPr>
            <a:spLocks noGrp="1"/>
          </p:cNvSpPr>
          <p:nvPr>
            <p:ph type="body" sz="quarter" idx="53" hasCustomPrompt="1"/>
          </p:nvPr>
        </p:nvSpPr>
        <p:spPr bwMode="auto">
          <a:xfrm>
            <a:off x="8458765" y="2191048"/>
            <a:ext cx="2954435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523991711" name="Text Placeholder 14"/>
          <p:cNvSpPr>
            <a:spLocks noGrp="1"/>
          </p:cNvSpPr>
          <p:nvPr>
            <p:ph type="body" sz="quarter" idx="54" hasCustomPrompt="1"/>
          </p:nvPr>
        </p:nvSpPr>
        <p:spPr bwMode="auto">
          <a:xfrm>
            <a:off x="190407" y="3764991"/>
            <a:ext cx="294197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1559266380" name="Text Placeholder 14"/>
          <p:cNvSpPr>
            <a:spLocks noGrp="1"/>
          </p:cNvSpPr>
          <p:nvPr>
            <p:ph type="body" sz="quarter" idx="55" hasCustomPrompt="1"/>
          </p:nvPr>
        </p:nvSpPr>
        <p:spPr bwMode="auto">
          <a:xfrm>
            <a:off x="190407" y="4097906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1544035596" name="Text Placeholder 14"/>
          <p:cNvSpPr>
            <a:spLocks noGrp="1"/>
          </p:cNvSpPr>
          <p:nvPr>
            <p:ph type="body" sz="quarter" idx="56" hasCustomPrompt="1"/>
          </p:nvPr>
        </p:nvSpPr>
        <p:spPr bwMode="auto">
          <a:xfrm>
            <a:off x="4324586" y="3764991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195238973" name="Text Placeholder 14"/>
          <p:cNvSpPr>
            <a:spLocks noGrp="1"/>
          </p:cNvSpPr>
          <p:nvPr>
            <p:ph type="body" sz="quarter" idx="57" hasCustomPrompt="1"/>
          </p:nvPr>
        </p:nvSpPr>
        <p:spPr bwMode="auto">
          <a:xfrm>
            <a:off x="4324586" y="4097906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cxnSp>
        <p:nvCxnSpPr>
          <p:cNvPr id="2075728970" name="Straight Connector 37"/>
          <p:cNvCxnSpPr/>
          <p:nvPr/>
        </p:nvCxnSpPr>
        <p:spPr bwMode="auto">
          <a:xfrm>
            <a:off x="192965" y="1518827"/>
            <a:ext cx="293941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7366798" name="Straight Connector 39"/>
          <p:cNvCxnSpPr/>
          <p:nvPr/>
        </p:nvCxnSpPr>
        <p:spPr bwMode="auto">
          <a:xfrm>
            <a:off x="192965" y="3425686"/>
            <a:ext cx="293941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6111771" name="Straight Connector 40"/>
          <p:cNvCxnSpPr/>
          <p:nvPr/>
        </p:nvCxnSpPr>
        <p:spPr bwMode="auto">
          <a:xfrm>
            <a:off x="4307540" y="1518827"/>
            <a:ext cx="295901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4728118" name="Straight Connector 41"/>
          <p:cNvCxnSpPr/>
          <p:nvPr/>
        </p:nvCxnSpPr>
        <p:spPr bwMode="auto">
          <a:xfrm>
            <a:off x="4307540" y="3425686"/>
            <a:ext cx="295901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513954" name="Straight Connector 42"/>
          <p:cNvCxnSpPr/>
          <p:nvPr/>
        </p:nvCxnSpPr>
        <p:spPr bwMode="auto">
          <a:xfrm>
            <a:off x="8450790" y="1518827"/>
            <a:ext cx="2971051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8693926" name="Picture Placeholder 50"/>
          <p:cNvSpPr>
            <a:spLocks noGrp="1"/>
          </p:cNvSpPr>
          <p:nvPr>
            <p:ph type="pic" sz="quarter" idx="58"/>
          </p:nvPr>
        </p:nvSpPr>
        <p:spPr bwMode="auto">
          <a:xfrm>
            <a:off x="7865891" y="3429000"/>
            <a:ext cx="4350751" cy="3429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grpSp>
        <p:nvGrpSpPr>
          <p:cNvPr id="706019639" name="Group 5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5" name="Rectangle 5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56" name="Freeform 55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57" name="Freeform 56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58" name="Freeform 57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7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19205385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857051223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478263839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630665" cy="470327"/>
          </a:xfrm>
        </p:spPr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sp>
        <p:nvSpPr>
          <p:cNvPr id="1239647820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54030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630461445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3154030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56454944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54030" y="1858132"/>
            <a:ext cx="3534844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805273217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54030" y="2191048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1708066945" name="Text Placeholder 14"/>
          <p:cNvSpPr>
            <a:spLocks noGrp="1"/>
          </p:cNvSpPr>
          <p:nvPr>
            <p:ph type="body" sz="quarter" idx="44" hasCustomPrompt="1"/>
          </p:nvPr>
        </p:nvSpPr>
        <p:spPr bwMode="auto">
          <a:xfrm>
            <a:off x="7881660" y="1858132"/>
            <a:ext cx="353154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872924295" name="Text Placeholder 14"/>
          <p:cNvSpPr>
            <a:spLocks noGrp="1"/>
          </p:cNvSpPr>
          <p:nvPr>
            <p:ph type="body" sz="quarter" idx="52" hasCustomPrompt="1"/>
          </p:nvPr>
        </p:nvSpPr>
        <p:spPr bwMode="auto">
          <a:xfrm>
            <a:off x="7881659" y="2191048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891847851" name="Text Placeholder 14"/>
          <p:cNvSpPr>
            <a:spLocks noGrp="1"/>
          </p:cNvSpPr>
          <p:nvPr>
            <p:ph type="body" sz="quarter" idx="54" hasCustomPrompt="1"/>
          </p:nvPr>
        </p:nvSpPr>
        <p:spPr bwMode="auto">
          <a:xfrm>
            <a:off x="3154030" y="3764991"/>
            <a:ext cx="3534844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1585746390" name="Text Placeholder 14"/>
          <p:cNvSpPr>
            <a:spLocks noGrp="1"/>
          </p:cNvSpPr>
          <p:nvPr>
            <p:ph type="body" sz="quarter" idx="55" hasCustomPrompt="1"/>
          </p:nvPr>
        </p:nvSpPr>
        <p:spPr bwMode="auto">
          <a:xfrm>
            <a:off x="3154030" y="4097906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604471931" name="Text Placeholder 14"/>
          <p:cNvSpPr>
            <a:spLocks noGrp="1"/>
          </p:cNvSpPr>
          <p:nvPr>
            <p:ph type="body" sz="quarter" idx="56" hasCustomPrompt="1"/>
          </p:nvPr>
        </p:nvSpPr>
        <p:spPr bwMode="auto">
          <a:xfrm>
            <a:off x="7881660" y="3764991"/>
            <a:ext cx="353154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657944230" name="Text Placeholder 14"/>
          <p:cNvSpPr>
            <a:spLocks noGrp="1"/>
          </p:cNvSpPr>
          <p:nvPr>
            <p:ph type="body" sz="quarter" idx="57" hasCustomPrompt="1"/>
          </p:nvPr>
        </p:nvSpPr>
        <p:spPr bwMode="auto">
          <a:xfrm>
            <a:off x="7881659" y="4097906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cxnSp>
        <p:nvCxnSpPr>
          <p:cNvPr id="1678101653" name="Straight Connector 37"/>
          <p:cNvCxnSpPr/>
          <p:nvPr/>
        </p:nvCxnSpPr>
        <p:spPr bwMode="auto">
          <a:xfrm>
            <a:off x="3132376" y="1518827"/>
            <a:ext cx="35564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1316499" name="Straight Connector 39"/>
          <p:cNvCxnSpPr/>
          <p:nvPr/>
        </p:nvCxnSpPr>
        <p:spPr bwMode="auto">
          <a:xfrm>
            <a:off x="3132376" y="3425686"/>
            <a:ext cx="3556497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6449531" name="Straight Connector 40"/>
          <p:cNvCxnSpPr/>
          <p:nvPr/>
        </p:nvCxnSpPr>
        <p:spPr bwMode="auto">
          <a:xfrm>
            <a:off x="7864614" y="1518827"/>
            <a:ext cx="3548586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1848793" name="Straight Connector 41"/>
          <p:cNvCxnSpPr/>
          <p:nvPr/>
        </p:nvCxnSpPr>
        <p:spPr bwMode="auto">
          <a:xfrm>
            <a:off x="7864614" y="3425686"/>
            <a:ext cx="3557227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938130" name="Text Placeholder 5"/>
          <p:cNvSpPr>
            <a:spLocks noGrp="1"/>
          </p:cNvSpPr>
          <p:nvPr>
            <p:ph type="body" sz="quarter" idx="58" hasCustomPrompt="1"/>
          </p:nvPr>
        </p:nvSpPr>
        <p:spPr bwMode="auto">
          <a:xfrm>
            <a:off x="7881659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629829088" name="Text Placeholder 5"/>
          <p:cNvSpPr>
            <a:spLocks noGrp="1"/>
          </p:cNvSpPr>
          <p:nvPr>
            <p:ph type="body" sz="quarter" idx="59" hasCustomPrompt="1"/>
          </p:nvPr>
        </p:nvSpPr>
        <p:spPr bwMode="auto">
          <a:xfrm>
            <a:off x="7881659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134421058" name="Group 46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8" name="Rectangle 47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50" name="Freeform 4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52" name="Freeform 51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53" name="Freeform 5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с иконками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7846745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123619719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804951413" name="Text Placeholder 14"/>
          <p:cNvSpPr>
            <a:spLocks noGrp="1"/>
          </p:cNvSpPr>
          <p:nvPr>
            <p:ph type="body" sz="quarter" idx="54" hasCustomPrompt="1"/>
          </p:nvPr>
        </p:nvSpPr>
        <p:spPr bwMode="auto">
          <a:xfrm>
            <a:off x="3132376" y="3197370"/>
            <a:ext cx="35564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298332056" name="Text Placeholder 14"/>
          <p:cNvSpPr>
            <a:spLocks noGrp="1"/>
          </p:cNvSpPr>
          <p:nvPr>
            <p:ph type="body" sz="quarter" idx="55" hasCustomPrompt="1"/>
          </p:nvPr>
        </p:nvSpPr>
        <p:spPr bwMode="auto">
          <a:xfrm>
            <a:off x="3132376" y="3530286"/>
            <a:ext cx="355649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51967325" name="Text Placeholder 14"/>
          <p:cNvSpPr>
            <a:spLocks noGrp="1"/>
          </p:cNvSpPr>
          <p:nvPr>
            <p:ph type="body" sz="quarter" idx="56" hasCustomPrompt="1"/>
          </p:nvPr>
        </p:nvSpPr>
        <p:spPr bwMode="auto">
          <a:xfrm>
            <a:off x="8449046" y="3197370"/>
            <a:ext cx="35486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196971625" name="Text Placeholder 14"/>
          <p:cNvSpPr>
            <a:spLocks noGrp="1"/>
          </p:cNvSpPr>
          <p:nvPr>
            <p:ph type="body" sz="quarter" idx="57" hasCustomPrompt="1"/>
          </p:nvPr>
        </p:nvSpPr>
        <p:spPr bwMode="auto">
          <a:xfrm>
            <a:off x="8449576" y="3530286"/>
            <a:ext cx="3552017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1575038208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742118"/>
            <a:ext cx="7667890" cy="1220298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Немного важного текста, суммирующего общий смысл абзацев, либо факт, который впоследствии подробнее раскрыт в тексте.</a:t>
            </a:r>
            <a:endParaRPr/>
          </a:p>
        </p:txBody>
      </p:sp>
      <p:cxnSp>
        <p:nvCxnSpPr>
          <p:cNvPr id="2107914691" name="Straight Connector 11"/>
          <p:cNvCxnSpPr/>
          <p:nvPr/>
        </p:nvCxnSpPr>
        <p:spPr bwMode="auto">
          <a:xfrm>
            <a:off x="1946628" y="2882917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4642461" name="Straight Connector 16"/>
          <p:cNvCxnSpPr/>
          <p:nvPr/>
        </p:nvCxnSpPr>
        <p:spPr bwMode="auto">
          <a:xfrm>
            <a:off x="7276735" y="2882917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934686" name="Straight Connector 17"/>
          <p:cNvCxnSpPr/>
          <p:nvPr/>
        </p:nvCxnSpPr>
        <p:spPr bwMode="auto">
          <a:xfrm>
            <a:off x="1946628" y="4849173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1615453" name="Straight Connector 18"/>
          <p:cNvCxnSpPr/>
          <p:nvPr/>
        </p:nvCxnSpPr>
        <p:spPr bwMode="auto">
          <a:xfrm>
            <a:off x="7276735" y="4849173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4214790" name="Text Placeholder 14"/>
          <p:cNvSpPr>
            <a:spLocks noGrp="1"/>
          </p:cNvSpPr>
          <p:nvPr>
            <p:ph type="body" sz="quarter" idx="58" hasCustomPrompt="1"/>
          </p:nvPr>
        </p:nvSpPr>
        <p:spPr bwMode="auto">
          <a:xfrm>
            <a:off x="3132376" y="5194349"/>
            <a:ext cx="35564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468161754" name="Text Placeholder 14"/>
          <p:cNvSpPr>
            <a:spLocks noGrp="1"/>
          </p:cNvSpPr>
          <p:nvPr>
            <p:ph type="body" sz="quarter" idx="59" hasCustomPrompt="1"/>
          </p:nvPr>
        </p:nvSpPr>
        <p:spPr bwMode="auto">
          <a:xfrm>
            <a:off x="3132376" y="5527265"/>
            <a:ext cx="355649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1775246598" name="Text Placeholder 14"/>
          <p:cNvSpPr>
            <a:spLocks noGrp="1"/>
          </p:cNvSpPr>
          <p:nvPr>
            <p:ph type="body" sz="quarter" idx="60" hasCustomPrompt="1"/>
          </p:nvPr>
        </p:nvSpPr>
        <p:spPr bwMode="auto">
          <a:xfrm>
            <a:off x="8449046" y="5194349"/>
            <a:ext cx="35486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GB"/>
              <a:t>C</a:t>
            </a:r>
            <a:r>
              <a:rPr lang="ru-RU"/>
              <a:t>чётчик на сайт ХХХ</a:t>
            </a:r>
            <a:endParaRPr/>
          </a:p>
        </p:txBody>
      </p:sp>
      <p:sp>
        <p:nvSpPr>
          <p:cNvPr id="2053263823" name="Text Placeholder 14"/>
          <p:cNvSpPr>
            <a:spLocks noGrp="1"/>
          </p:cNvSpPr>
          <p:nvPr>
            <p:ph type="body" sz="quarter" idx="61" hasCustomPrompt="1"/>
          </p:nvPr>
        </p:nvSpPr>
        <p:spPr bwMode="auto">
          <a:xfrm>
            <a:off x="8449576" y="5527265"/>
            <a:ext cx="3552017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sp>
        <p:nvSpPr>
          <p:cNvPr id="1616547780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190407" y="5224111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54302494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190407" y="5584987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262161278" name="Picture Placeholder 10"/>
          <p:cNvSpPr>
            <a:spLocks noGrp="1"/>
          </p:cNvSpPr>
          <p:nvPr>
            <p:ph type="pic" sz="quarter" idx="39"/>
          </p:nvPr>
        </p:nvSpPr>
        <p:spPr bwMode="auto">
          <a:xfrm>
            <a:off x="2163525" y="319737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535691642" name="Picture Placeholder 10"/>
          <p:cNvSpPr>
            <a:spLocks noGrp="1"/>
          </p:cNvSpPr>
          <p:nvPr>
            <p:ph type="pic" sz="quarter" idx="62"/>
          </p:nvPr>
        </p:nvSpPr>
        <p:spPr bwMode="auto">
          <a:xfrm>
            <a:off x="7486249" y="319737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604419107" name="Picture Placeholder 10"/>
          <p:cNvSpPr>
            <a:spLocks noGrp="1"/>
          </p:cNvSpPr>
          <p:nvPr>
            <p:ph type="pic" sz="quarter" idx="63"/>
          </p:nvPr>
        </p:nvSpPr>
        <p:spPr bwMode="auto">
          <a:xfrm>
            <a:off x="2163525" y="519434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482479108" name="Picture Placeholder 10"/>
          <p:cNvSpPr>
            <a:spLocks noGrp="1"/>
          </p:cNvSpPr>
          <p:nvPr>
            <p:ph type="pic" sz="quarter" idx="64"/>
          </p:nvPr>
        </p:nvSpPr>
        <p:spPr bwMode="auto">
          <a:xfrm>
            <a:off x="7486249" y="519434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grpSp>
        <p:nvGrpSpPr>
          <p:cNvPr id="457189297" name="Group 4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5" name="Rectangle 4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46" name="Freeform 45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47" name="Freeform 46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48" name="Freeform 47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55624540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grpSp>
        <p:nvGrpSpPr>
          <p:cNvPr id="993157805" name="Group 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cxnSp>
        <p:nvCxnSpPr>
          <p:cNvPr id="785445540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4079808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33874955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241754263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03299356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943680744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923607965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467244688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241822987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997950924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01593362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04882541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827246353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187753539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704700080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677298875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819149212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783385113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065820458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067478474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09221324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486366006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783382704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959140145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099906896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347889978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3539211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2970773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4923053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5340850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318758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678628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3284433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4037937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386433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074879352" name="Title 9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главление</a:t>
            </a: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с иконками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96578310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939490034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124564534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190407" y="3240233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975067951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190407" y="3601109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986648285" name="Title 9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Цели и шаги на квартал</a:t>
            </a:r>
            <a:endParaRPr/>
          </a:p>
        </p:txBody>
      </p:sp>
      <p:sp>
        <p:nvSpPr>
          <p:cNvPr id="603639325" name="Text Placeholder 12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132377" y="3186756"/>
            <a:ext cx="2963623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defRPr lang="en-GB" sz="2350" b="0" i="0" cap="none" spc="71">
                <a:latin typeface="MTS Text Medium"/>
                <a:ea typeface="MTS Text Medium"/>
                <a:cs typeface="Arial Black"/>
              </a:defRPr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/>
            </a:lvl5pPr>
          </a:lstStyle>
          <a:p>
            <a:pPr lvl="0">
              <a:lnSpc>
                <a:spcPct val="90000"/>
              </a:lnSpc>
              <a:spcBef>
                <a:spcPts val="0"/>
              </a:spcBef>
              <a:buNone/>
              <a:defRPr/>
            </a:pPr>
            <a:r>
              <a:rPr lang="en-US"/>
              <a:t>С</a:t>
            </a:r>
            <a:r>
              <a:rPr lang="ru-RU"/>
              <a:t>четчик, вставленный на сайт X</a:t>
            </a:r>
            <a:r>
              <a:rPr lang="en-US"/>
              <a:t>XX</a:t>
            </a:r>
            <a:endParaRPr/>
          </a:p>
        </p:txBody>
      </p:sp>
      <p:sp>
        <p:nvSpPr>
          <p:cNvPr id="825997473" name="Text Placeholder 12"/>
          <p:cNvSpPr>
            <a:spLocks noGrp="1"/>
          </p:cNvSpPr>
          <p:nvPr>
            <p:ph type="body" sz="quarter" idx="40" hasCustomPrompt="1"/>
          </p:nvPr>
        </p:nvSpPr>
        <p:spPr bwMode="auto">
          <a:xfrm>
            <a:off x="3132377" y="5091566"/>
            <a:ext cx="2963623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defRPr lang="en-GB" sz="2350" b="0" i="0" cap="none" spc="71">
                <a:latin typeface="MTS Text Medium"/>
                <a:ea typeface="MTS Text Medium"/>
                <a:cs typeface="Arial Black"/>
              </a:defRPr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/>
            </a:lvl5pPr>
          </a:lstStyle>
          <a:p>
            <a:pPr lvl="0">
              <a:lnSpc>
                <a:spcPct val="90000"/>
              </a:lnSpc>
              <a:spcBef>
                <a:spcPts val="0"/>
              </a:spcBef>
              <a:buNone/>
              <a:defRPr/>
            </a:pPr>
            <a:r>
              <a:rPr lang="en-US"/>
              <a:t>С</a:t>
            </a:r>
            <a:r>
              <a:rPr lang="ru-RU"/>
              <a:t>четчик, вставленный на сайт X</a:t>
            </a:r>
            <a:r>
              <a:rPr lang="en-US"/>
              <a:t>XX</a:t>
            </a:r>
            <a:endParaRPr/>
          </a:p>
        </p:txBody>
      </p:sp>
      <p:sp>
        <p:nvSpPr>
          <p:cNvPr id="1693322196" name="Picture Placeholder 10"/>
          <p:cNvSpPr>
            <a:spLocks noGrp="1"/>
          </p:cNvSpPr>
          <p:nvPr>
            <p:ph type="pic" sz="quarter" idx="42"/>
          </p:nvPr>
        </p:nvSpPr>
        <p:spPr bwMode="auto">
          <a:xfrm>
            <a:off x="6598721" y="319737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2005104731" name="Picture Placeholder 10"/>
          <p:cNvSpPr>
            <a:spLocks noGrp="1"/>
          </p:cNvSpPr>
          <p:nvPr>
            <p:ph type="pic" sz="quarter" idx="43"/>
          </p:nvPr>
        </p:nvSpPr>
        <p:spPr bwMode="auto">
          <a:xfrm>
            <a:off x="6598721" y="5071458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1939151251" name="Text Placeholder 12"/>
          <p:cNvSpPr>
            <a:spLocks noGrp="1"/>
          </p:cNvSpPr>
          <p:nvPr>
            <p:ph type="body" sz="quarter" idx="44" hasCustomPrompt="1"/>
          </p:nvPr>
        </p:nvSpPr>
        <p:spPr bwMode="auto">
          <a:xfrm>
            <a:off x="7863422" y="3186756"/>
            <a:ext cx="2957650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defRPr lang="en-GB" sz="2350" b="0" i="0" cap="none" spc="71">
                <a:latin typeface="MTS Text Medium"/>
                <a:ea typeface="MTS Text Medium"/>
                <a:cs typeface="Arial Black"/>
              </a:defRPr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/>
            </a:lvl5pPr>
          </a:lstStyle>
          <a:p>
            <a:pPr lvl="0">
              <a:lnSpc>
                <a:spcPct val="90000"/>
              </a:lnSpc>
              <a:spcBef>
                <a:spcPts val="0"/>
              </a:spcBef>
              <a:buNone/>
              <a:defRPr/>
            </a:pPr>
            <a:r>
              <a:rPr lang="en-US"/>
              <a:t>С</a:t>
            </a:r>
            <a:r>
              <a:rPr lang="ru-RU"/>
              <a:t>четчик, вставленный на сайт X</a:t>
            </a:r>
            <a:r>
              <a:rPr lang="en-US"/>
              <a:t>XX</a:t>
            </a:r>
            <a:endParaRPr/>
          </a:p>
        </p:txBody>
      </p:sp>
      <p:sp>
        <p:nvSpPr>
          <p:cNvPr id="1311915577" name="Text Placeholder 12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7863422" y="5091566"/>
            <a:ext cx="2957650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defRPr lang="en-GB" sz="2350" b="0" i="0" cap="none" spc="71">
                <a:latin typeface="MTS Text Medium"/>
                <a:ea typeface="MTS Text Medium"/>
                <a:cs typeface="Arial Black"/>
              </a:defRPr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/>
            </a:lvl5pPr>
          </a:lstStyle>
          <a:p>
            <a:pPr lvl="0">
              <a:lnSpc>
                <a:spcPct val="90000"/>
              </a:lnSpc>
              <a:spcBef>
                <a:spcPts val="0"/>
              </a:spcBef>
              <a:buNone/>
              <a:defRPr/>
            </a:pPr>
            <a:r>
              <a:rPr lang="en-US"/>
              <a:t>С</a:t>
            </a:r>
            <a:r>
              <a:rPr lang="ru-RU"/>
              <a:t>четчик, вставленный на сайт X</a:t>
            </a:r>
            <a:r>
              <a:rPr lang="en-US"/>
              <a:t>XX</a:t>
            </a:r>
            <a:endParaRPr/>
          </a:p>
        </p:txBody>
      </p:sp>
      <p:sp>
        <p:nvSpPr>
          <p:cNvPr id="538506775" name="Picture Placeholder 10"/>
          <p:cNvSpPr>
            <a:spLocks noGrp="1"/>
          </p:cNvSpPr>
          <p:nvPr>
            <p:ph type="pic" sz="quarter" idx="46"/>
          </p:nvPr>
        </p:nvSpPr>
        <p:spPr bwMode="auto">
          <a:xfrm>
            <a:off x="11337041" y="319737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sp>
        <p:nvSpPr>
          <p:cNvPr id="643694679" name="Picture Placeholder 10"/>
          <p:cNvSpPr>
            <a:spLocks noGrp="1"/>
          </p:cNvSpPr>
          <p:nvPr>
            <p:ph type="pic" sz="quarter" idx="47"/>
          </p:nvPr>
        </p:nvSpPr>
        <p:spPr bwMode="auto">
          <a:xfrm>
            <a:off x="11337041" y="5071458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bg1">
                    <a:lumMod val="6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  <p:cxnSp>
        <p:nvCxnSpPr>
          <p:cNvPr id="627688076" name="Straight Connector 41"/>
          <p:cNvCxnSpPr/>
          <p:nvPr/>
        </p:nvCxnSpPr>
        <p:spPr bwMode="auto">
          <a:xfrm>
            <a:off x="3132377" y="2882917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7827723" name="Straight Connector 43"/>
          <p:cNvCxnSpPr/>
          <p:nvPr/>
        </p:nvCxnSpPr>
        <p:spPr bwMode="auto">
          <a:xfrm>
            <a:off x="3132377" y="4849173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976284" name="Straight Connector 53"/>
          <p:cNvCxnSpPr/>
          <p:nvPr/>
        </p:nvCxnSpPr>
        <p:spPr bwMode="auto">
          <a:xfrm>
            <a:off x="7863422" y="2882917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804406" name="Straight Connector 54"/>
          <p:cNvCxnSpPr/>
          <p:nvPr/>
        </p:nvCxnSpPr>
        <p:spPr bwMode="auto">
          <a:xfrm>
            <a:off x="7863422" y="4849173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5111022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235018" y="1854533"/>
            <a:ext cx="258605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endParaRPr/>
          </a:p>
        </p:txBody>
      </p:sp>
      <p:grpSp>
        <p:nvGrpSpPr>
          <p:cNvPr id="1028549251" name="Group 56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8" name="Rectangle 57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59" name="Freeform 58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60" name="Freeform 59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61" name="Freeform 60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на плашках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16833750" name="Text Placeholder 2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7661" y="768408"/>
            <a:ext cx="5904789" cy="2660592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Статистика</a:t>
            </a:r>
            <a:endParaRPr/>
          </a:p>
        </p:txBody>
      </p:sp>
      <p:sp>
        <p:nvSpPr>
          <p:cNvPr id="202345169" name="Text Placeholder 2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946628" y="1297784"/>
            <a:ext cx="8264396" cy="3774433"/>
          </a:xfrm>
          <a:prstGeom prst="rect">
            <a:avLst/>
          </a:prstGeom>
          <a:solidFill>
            <a:schemeClr val="accent1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Рассылка</a:t>
            </a:r>
            <a:endParaRPr/>
          </a:p>
        </p:txBody>
      </p:sp>
      <p:sp>
        <p:nvSpPr>
          <p:cNvPr id="96948913" name="Text Placeholder 2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778801" y="1997132"/>
            <a:ext cx="10643040" cy="4860868"/>
          </a:xfrm>
          <a:prstGeom prst="rect">
            <a:avLst/>
          </a:prstGeom>
          <a:solidFill>
            <a:schemeClr val="accent2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Аудитория</a:t>
            </a:r>
            <a:endParaRPr/>
          </a:p>
        </p:txBody>
      </p:sp>
      <p:sp>
        <p:nvSpPr>
          <p:cNvPr id="986914727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738244205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663456251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964125" y="4208341"/>
            <a:ext cx="4522459" cy="20781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42 </a:t>
            </a:r>
            <a:br>
              <a:rPr lang="ru-RU"/>
            </a:br>
            <a:r>
              <a:rPr lang="ru-RU"/>
              <a:t>МЛН</a:t>
            </a:r>
            <a:endParaRPr/>
          </a:p>
        </p:txBody>
      </p:sp>
      <p:sp>
        <p:nvSpPr>
          <p:cNvPr id="75561655" name="Text Placeholder 28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6108723" y="4208341"/>
            <a:ext cx="4712349" cy="20781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115 </a:t>
            </a:r>
            <a:br>
              <a:rPr lang="ru-RU"/>
            </a:br>
            <a:r>
              <a:rPr lang="ru-RU"/>
              <a:t>МЛН</a:t>
            </a:r>
            <a:endParaRPr/>
          </a:p>
        </p:txBody>
      </p:sp>
      <p:sp>
        <p:nvSpPr>
          <p:cNvPr id="1735085523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964125" y="6333295"/>
            <a:ext cx="4522459" cy="369469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уникальных пользователей </a:t>
            </a:r>
            <a:br>
              <a:rPr lang="ru-RU"/>
            </a:br>
            <a:r>
              <a:rPr lang="ru-RU"/>
              <a:t>ежедневно</a:t>
            </a:r>
            <a:endParaRPr/>
          </a:p>
        </p:txBody>
      </p:sp>
      <p:sp>
        <p:nvSpPr>
          <p:cNvPr id="329315942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096000" y="6333295"/>
            <a:ext cx="4725072" cy="477911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уникальных пользователей </a:t>
            </a:r>
            <a:br>
              <a:rPr lang="ru-RU"/>
            </a:br>
            <a:r>
              <a:rPr lang="ru-RU"/>
              <a:t>ежедневно</a:t>
            </a:r>
            <a:endParaRPr/>
          </a:p>
        </p:txBody>
      </p:sp>
      <p:grpSp>
        <p:nvGrpSpPr>
          <p:cNvPr id="1366511130" name="Group 3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37" name="Freeform 36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38" name="Freeform 37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на плашках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56150548" name="Text Placeholder 2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7661" y="768408"/>
            <a:ext cx="5904789" cy="2660592"/>
          </a:xfrm>
          <a:prstGeom prst="rect">
            <a:avLst/>
          </a:prstGeom>
          <a:solidFill>
            <a:schemeClr val="accent4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solidFill>
                  <a:schemeClr val="bg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Показатели</a:t>
            </a:r>
            <a:endParaRPr/>
          </a:p>
        </p:txBody>
      </p:sp>
      <p:sp>
        <p:nvSpPr>
          <p:cNvPr id="2039695443" name="Text Placeholder 2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946628" y="1297784"/>
            <a:ext cx="8264396" cy="3774433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Статистика</a:t>
            </a:r>
            <a:endParaRPr/>
          </a:p>
        </p:txBody>
      </p:sp>
      <p:sp>
        <p:nvSpPr>
          <p:cNvPr id="1611873638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673280646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810713581" name="Text Placeholder 2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778801" y="1997132"/>
            <a:ext cx="10643040" cy="4860868"/>
          </a:xfrm>
          <a:prstGeom prst="rect">
            <a:avLst/>
          </a:prstGeom>
          <a:solidFill>
            <a:schemeClr val="accent1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Рассылка</a:t>
            </a:r>
            <a:endParaRPr/>
          </a:p>
        </p:txBody>
      </p:sp>
      <p:sp>
        <p:nvSpPr>
          <p:cNvPr id="895912970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964124" y="3429000"/>
            <a:ext cx="9281248" cy="327376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4000" b="0" i="0" spc="0">
                <a:solidFill>
                  <a:schemeClr val="tx1"/>
                </a:solidFill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Какой-нибудь небольшой, текст для перебивки внимания.</a:t>
            </a:r>
            <a:endParaRPr/>
          </a:p>
        </p:txBody>
      </p:sp>
      <p:grpSp>
        <p:nvGrpSpPr>
          <p:cNvPr id="429232856" name="Group 9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1" name="Rectangle 10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3" name="Freeform 12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на плашках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62572722" name="Text Placeholder 2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7661" y="768408"/>
            <a:ext cx="5904789" cy="2660592"/>
          </a:xfrm>
          <a:prstGeom prst="rect">
            <a:avLst/>
          </a:prstGeom>
          <a:solidFill>
            <a:schemeClr val="accent2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Аудитория</a:t>
            </a:r>
            <a:endParaRPr/>
          </a:p>
        </p:txBody>
      </p:sp>
      <p:sp>
        <p:nvSpPr>
          <p:cNvPr id="1449870594" name="Text Placeholder 2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946628" y="1297784"/>
            <a:ext cx="8264396" cy="3774433"/>
          </a:xfrm>
          <a:prstGeom prst="rect">
            <a:avLst/>
          </a:prstGeom>
          <a:solidFill>
            <a:schemeClr val="accent4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solidFill>
                  <a:schemeClr val="bg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Показатели</a:t>
            </a:r>
            <a:endParaRPr/>
          </a:p>
        </p:txBody>
      </p:sp>
      <p:sp>
        <p:nvSpPr>
          <p:cNvPr id="1836552718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900915255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710884906" name="Text Placeholder 2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778801" y="1997132"/>
            <a:ext cx="10643040" cy="4860868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0" b="0" i="0"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b="0" i="0">
                <a:latin typeface="MTS Text Medium"/>
                <a:ea typeface="MTS Text Medium"/>
              </a:defRPr>
            </a:lvl2pPr>
            <a:lvl3pPr marL="967525" indent="0">
              <a:buFontTx/>
              <a:buNone/>
              <a:defRPr b="0" i="0">
                <a:latin typeface="MTS Text Medium"/>
                <a:ea typeface="MTS Text Medium"/>
              </a:defRPr>
            </a:lvl3pPr>
            <a:lvl4pPr marL="1451289" indent="0">
              <a:buFontTx/>
              <a:buNone/>
              <a:defRPr b="0" i="0">
                <a:latin typeface="MTS Text Medium"/>
                <a:ea typeface="MTS Text Medium"/>
              </a:defRPr>
            </a:lvl4pPr>
            <a:lvl5pPr marL="1935052" indent="0">
              <a:buFontTx/>
              <a:buNone/>
              <a:defRPr b="0" i="0">
                <a:latin typeface="MTS Text Medium"/>
                <a:ea typeface="MTS Text Medium"/>
              </a:defRPr>
            </a:lvl5pPr>
          </a:lstStyle>
          <a:p>
            <a:pPr lvl="0">
              <a:defRPr/>
            </a:pPr>
            <a:r>
              <a:rPr lang="ru-RU"/>
              <a:t>Статистика</a:t>
            </a:r>
            <a:endParaRPr/>
          </a:p>
        </p:txBody>
      </p:sp>
      <p:sp>
        <p:nvSpPr>
          <p:cNvPr id="1413514688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964125" y="4208341"/>
            <a:ext cx="4522459" cy="20781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42 </a:t>
            </a:r>
            <a:br>
              <a:rPr lang="ru-RU"/>
            </a:br>
            <a:r>
              <a:rPr lang="ru-RU"/>
              <a:t>МЛН</a:t>
            </a:r>
            <a:endParaRPr/>
          </a:p>
        </p:txBody>
      </p:sp>
      <p:sp>
        <p:nvSpPr>
          <p:cNvPr id="1992105818" name="Text Placeholder 28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6108723" y="4208341"/>
            <a:ext cx="4712349" cy="20781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115 </a:t>
            </a:r>
            <a:br>
              <a:rPr lang="ru-RU"/>
            </a:br>
            <a:r>
              <a:rPr lang="ru-RU"/>
              <a:t>МЛН</a:t>
            </a:r>
            <a:endParaRPr/>
          </a:p>
        </p:txBody>
      </p:sp>
      <p:sp>
        <p:nvSpPr>
          <p:cNvPr id="801492076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964125" y="6333295"/>
            <a:ext cx="4522459" cy="369469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уникальных пользователей </a:t>
            </a:r>
            <a:br>
              <a:rPr lang="ru-RU"/>
            </a:br>
            <a:r>
              <a:rPr lang="ru-RU"/>
              <a:t>ежедневно</a:t>
            </a:r>
            <a:endParaRPr/>
          </a:p>
        </p:txBody>
      </p:sp>
      <p:sp>
        <p:nvSpPr>
          <p:cNvPr id="1244550982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096000" y="6333295"/>
            <a:ext cx="4725072" cy="477911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уникальных пользователей </a:t>
            </a:r>
            <a:br>
              <a:rPr lang="ru-RU"/>
            </a:br>
            <a:r>
              <a:rPr lang="ru-RU"/>
              <a:t>ежедневно</a:t>
            </a:r>
            <a:endParaRPr/>
          </a:p>
        </p:txBody>
      </p:sp>
      <p:grpSp>
        <p:nvGrpSpPr>
          <p:cNvPr id="963343899" name="Group 9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1" name="Rectangle 10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3" name="Freeform 12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17754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086389068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985652078" name="Chart Placeholder 10"/>
          <p:cNvSpPr>
            <a:spLocks noGrp="1"/>
          </p:cNvSpPr>
          <p:nvPr>
            <p:ph type="chart" sz="quarter" idx="14"/>
          </p:nvPr>
        </p:nvSpPr>
        <p:spPr bwMode="auto">
          <a:xfrm>
            <a:off x="-88985" y="4197364"/>
            <a:ext cx="12369970" cy="272902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Вставка диаграммы</a:t>
            </a:r>
            <a:endParaRPr/>
          </a:p>
        </p:txBody>
      </p:sp>
      <p:sp>
        <p:nvSpPr>
          <p:cNvPr id="859096868" name="Title 1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sp>
        <p:nvSpPr>
          <p:cNvPr id="1847636949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90407" y="3185710"/>
            <a:ext cx="2978051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70</a:t>
            </a:r>
            <a:r>
              <a:rPr lang="en-US"/>
              <a:t>%</a:t>
            </a:r>
            <a:endParaRPr/>
          </a:p>
        </p:txBody>
      </p:sp>
      <p:sp>
        <p:nvSpPr>
          <p:cNvPr id="1248282399" name="Text Placeholder 28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8651198" y="3185710"/>
            <a:ext cx="2978051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en-US"/>
              <a:t>3</a:t>
            </a:r>
            <a:r>
              <a:rPr lang="ru-RU"/>
              <a:t>0</a:t>
            </a:r>
            <a:r>
              <a:rPr lang="en-US"/>
              <a:t>%</a:t>
            </a:r>
            <a:endParaRPr/>
          </a:p>
        </p:txBody>
      </p:sp>
      <p:sp>
        <p:nvSpPr>
          <p:cNvPr id="1232731859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190407" y="4414846"/>
            <a:ext cx="2978050" cy="369469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Пользователей услуг мобильной связи и интернета</a:t>
            </a:r>
            <a:endParaRPr/>
          </a:p>
        </p:txBody>
      </p:sp>
      <p:sp>
        <p:nvSpPr>
          <p:cNvPr id="1665368094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637580" y="4414846"/>
            <a:ext cx="2978050" cy="369469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Пользователей услуг мобильной связи и интернета</a:t>
            </a:r>
            <a:endParaRPr/>
          </a:p>
        </p:txBody>
      </p:sp>
      <p:grpSp>
        <p:nvGrpSpPr>
          <p:cNvPr id="366034614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Акциденция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14802410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96728446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455483698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24458" y="3824683"/>
            <a:ext cx="11911543" cy="28843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2600" b="0" i="0" cap="all" spc="0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12 млн</a:t>
            </a:r>
            <a:endParaRPr/>
          </a:p>
        </p:txBody>
      </p:sp>
      <p:grpSp>
        <p:nvGrpSpPr>
          <p:cNvPr id="1781689792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414277633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2047614246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103659401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416980304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Более 70% населения Москвы пользуются услугами МТС.</a:t>
            </a:r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670920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152390472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120403125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-88985" y="2374254"/>
            <a:ext cx="12369970" cy="455213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1319307603" name="Title 1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sp>
        <p:nvSpPr>
          <p:cNvPr id="986763111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224815" y="2879223"/>
            <a:ext cx="1756221" cy="54771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8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10</a:t>
            </a:r>
            <a:r>
              <a:rPr lang="en-US"/>
              <a:t>%</a:t>
            </a:r>
            <a:endParaRPr/>
          </a:p>
        </p:txBody>
      </p:sp>
      <p:grpSp>
        <p:nvGrpSpPr>
          <p:cNvPr id="1217471120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514957355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224815" y="2522406"/>
            <a:ext cx="1756221" cy="2707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анные</a:t>
            </a:r>
            <a:endParaRPr/>
          </a:p>
        </p:txBody>
      </p:sp>
      <p:sp>
        <p:nvSpPr>
          <p:cNvPr id="1012620047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24815" y="3431059"/>
            <a:ext cx="2314687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В этом квартале мы сделали вот это и вот это, что дало успешный показатель.</a:t>
            </a:r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0942411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41317682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448427326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-88985" y="2374254"/>
            <a:ext cx="12369970" cy="455213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/>
                <a:ea typeface="MTS Text Medium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152417067" name="Title 1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sp>
        <p:nvSpPr>
          <p:cNvPr id="1894801935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224814" y="2851172"/>
            <a:ext cx="2314687" cy="771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1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10</a:t>
            </a:r>
            <a:r>
              <a:rPr lang="en-US"/>
              <a:t>%</a:t>
            </a:r>
            <a:endParaRPr/>
          </a:p>
        </p:txBody>
      </p:sp>
      <p:grpSp>
        <p:nvGrpSpPr>
          <p:cNvPr id="546610952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948958663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3132377" y="2851172"/>
            <a:ext cx="1756221" cy="2707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анные</a:t>
            </a:r>
            <a:endParaRPr/>
          </a:p>
        </p:txBody>
      </p:sp>
      <p:sp>
        <p:nvSpPr>
          <p:cNvPr id="807390473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132377" y="3180766"/>
            <a:ext cx="2314687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В этом квартале мы сделали вот это и вот это, что дало успешный показатель.</a:t>
            </a:r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с таблице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4835683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022475346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953002277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-88985" y="3121966"/>
            <a:ext cx="12369970" cy="295195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/>
                <a:ea typeface="MTS Text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2002201054" name="Title 1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grpSp>
        <p:nvGrpSpPr>
          <p:cNvPr id="1904300970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348117686" name="Table Placeholder 7"/>
          <p:cNvSpPr>
            <a:spLocks noGrp="1"/>
          </p:cNvSpPr>
          <p:nvPr>
            <p:ph type="tbl" sz="quarter" idx="15" hasCustomPrompt="1"/>
          </p:nvPr>
        </p:nvSpPr>
        <p:spPr bwMode="auto">
          <a:xfrm>
            <a:off x="0" y="1376230"/>
            <a:ext cx="12192000" cy="1745863"/>
          </a:xfrm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Таблица</a:t>
            </a:r>
            <a:endParaRPr/>
          </a:p>
        </p:txBody>
      </p:sp>
      <p:sp>
        <p:nvSpPr>
          <p:cNvPr id="960544341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552346790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872031391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с таблицей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6924004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7232589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183836644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88986" y="1927123"/>
            <a:ext cx="10732087" cy="414679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/>
                <a:ea typeface="MTS Text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1236674485" name="Title 1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grpSp>
        <p:nvGrpSpPr>
          <p:cNvPr id="2114571968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63768086" name="Table Placeholder 7"/>
          <p:cNvSpPr>
            <a:spLocks noGrp="1"/>
          </p:cNvSpPr>
          <p:nvPr>
            <p:ph type="tbl" sz="quarter" idx="15" hasCustomPrompt="1"/>
          </p:nvPr>
        </p:nvSpPr>
        <p:spPr bwMode="auto">
          <a:xfrm>
            <a:off x="10211024" y="1995750"/>
            <a:ext cx="1790569" cy="4025909"/>
          </a:xfrm>
        </p:spPr>
        <p:txBody>
          <a:bodyPr anchor="ctr">
            <a:normAutofit/>
          </a:bodyPr>
          <a:lstStyle>
            <a:lvl1pPr algn="ctr">
              <a:defRPr sz="1900" b="0" i="0">
                <a:solidFill>
                  <a:schemeClr val="tx1"/>
                </a:solidFill>
                <a:latin typeface="MTS Text"/>
                <a:ea typeface="MTS Text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Таблица</a:t>
            </a:r>
            <a:endParaRPr/>
          </a:p>
        </p:txBody>
      </p:sp>
      <p:sp>
        <p:nvSpPr>
          <p:cNvPr id="1291838804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988837717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896295992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5795760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grpSp>
        <p:nvGrpSpPr>
          <p:cNvPr id="1428808142" name="Group 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cxnSp>
        <p:nvCxnSpPr>
          <p:cNvPr id="634922848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283094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597793723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997046426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816809560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02692561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289357838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337468966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332540115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442504975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895544427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903611824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615497769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120939945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202064793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605787327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74987619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60638462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254349784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312635660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480547485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070875272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906742427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640584779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941361023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747934089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287335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4486035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4887800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1331761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2379936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229162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1459426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8600799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67821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2061105389" name="Title 9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главление</a:t>
            </a:r>
            <a:endParaRPr/>
          </a:p>
        </p:txBody>
      </p:sp>
      <p:sp>
        <p:nvSpPr>
          <p:cNvPr id="912812843" name="Graphic 41"/>
          <p:cNvSpPr/>
          <p:nvPr/>
        </p:nvSpPr>
        <p:spPr bwMode="auto">
          <a:xfrm>
            <a:off x="198818" y="6060446"/>
            <a:ext cx="634406" cy="634440"/>
          </a:xfrm>
          <a:custGeom>
            <a:avLst/>
            <a:gdLst>
              <a:gd name="connsiteX0" fmla="*/ 674387 w 1348773"/>
              <a:gd name="connsiteY0" fmla="*/ 1348773 h 1348773"/>
              <a:gd name="connsiteX1" fmla="*/ 0 w 1348773"/>
              <a:gd name="connsiteY1" fmla="*/ 674387 h 1348773"/>
              <a:gd name="connsiteX2" fmla="*/ 674387 w 1348773"/>
              <a:gd name="connsiteY2" fmla="*/ 0 h 1348773"/>
              <a:gd name="connsiteX3" fmla="*/ 1348773 w 1348773"/>
              <a:gd name="connsiteY3" fmla="*/ 674387 h 1348773"/>
              <a:gd name="connsiteX4" fmla="*/ 674387 w 1348773"/>
              <a:gd name="connsiteY4" fmla="*/ 1348773 h 1348773"/>
              <a:gd name="connsiteX5" fmla="*/ 674387 w 1348773"/>
              <a:gd name="connsiteY5" fmla="*/ 13488 h 1348773"/>
              <a:gd name="connsiteX6" fmla="*/ 13488 w 1348773"/>
              <a:gd name="connsiteY6" fmla="*/ 674387 h 1348773"/>
              <a:gd name="connsiteX7" fmla="*/ 674387 w 1348773"/>
              <a:gd name="connsiteY7" fmla="*/ 1335285 h 1348773"/>
              <a:gd name="connsiteX8" fmla="*/ 1335285 w 1348773"/>
              <a:gd name="connsiteY8" fmla="*/ 674387 h 1348773"/>
              <a:gd name="connsiteX9" fmla="*/ 674387 w 1348773"/>
              <a:gd name="connsiteY9" fmla="*/ 13488 h 1348773"/>
              <a:gd name="connsiteX10" fmla="*/ 725100 w 1348773"/>
              <a:gd name="connsiteY10" fmla="*/ 947378 h 1348773"/>
              <a:gd name="connsiteX11" fmla="*/ 715524 w 1348773"/>
              <a:gd name="connsiteY11" fmla="*/ 937802 h 1348773"/>
              <a:gd name="connsiteX12" fmla="*/ 967610 w 1348773"/>
              <a:gd name="connsiteY12" fmla="*/ 685716 h 1348773"/>
              <a:gd name="connsiteX13" fmla="*/ 377656 w 1348773"/>
              <a:gd name="connsiteY13" fmla="*/ 685716 h 1348773"/>
              <a:gd name="connsiteX14" fmla="*/ 377656 w 1348773"/>
              <a:gd name="connsiteY14" fmla="*/ 672228 h 1348773"/>
              <a:gd name="connsiteX15" fmla="*/ 964912 w 1348773"/>
              <a:gd name="connsiteY15" fmla="*/ 672228 h 1348773"/>
              <a:gd name="connsiteX16" fmla="*/ 715659 w 1348773"/>
              <a:gd name="connsiteY16" fmla="*/ 422840 h 1348773"/>
              <a:gd name="connsiteX17" fmla="*/ 725235 w 1348773"/>
              <a:gd name="connsiteY17" fmla="*/ 413264 h 1348773"/>
              <a:gd name="connsiteX18" fmla="*/ 989460 w 1348773"/>
              <a:gd name="connsiteY18" fmla="*/ 677489 h 1348773"/>
              <a:gd name="connsiteX19" fmla="*/ 986628 w 1348773"/>
              <a:gd name="connsiteY19" fmla="*/ 680321 h 1348773"/>
              <a:gd name="connsiteX20" fmla="*/ 989460 w 1348773"/>
              <a:gd name="connsiteY20" fmla="*/ 683154 h 1348773"/>
              <a:gd name="connsiteX21" fmla="*/ 725100 w 1348773"/>
              <a:gd name="connsiteY21" fmla="*/ 947378 h 1348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348773" h="1348773" extrusionOk="0">
                <a:moveTo>
                  <a:pt x="674387" y="1348773"/>
                </a:moveTo>
                <a:cubicBezTo>
                  <a:pt x="302530" y="1348773"/>
                  <a:pt x="0" y="1046243"/>
                  <a:pt x="0" y="674387"/>
                </a:cubicBezTo>
                <a:cubicBezTo>
                  <a:pt x="0" y="302530"/>
                  <a:pt x="302530" y="0"/>
                  <a:pt x="674387" y="0"/>
                </a:cubicBezTo>
                <a:cubicBezTo>
                  <a:pt x="1046243" y="0"/>
                  <a:pt x="1348773" y="302530"/>
                  <a:pt x="1348773" y="674387"/>
                </a:cubicBezTo>
                <a:cubicBezTo>
                  <a:pt x="1348773" y="1046243"/>
                  <a:pt x="1046243" y="1348773"/>
                  <a:pt x="674387" y="1348773"/>
                </a:cubicBezTo>
                <a:close/>
                <a:moveTo>
                  <a:pt x="674387" y="13488"/>
                </a:moveTo>
                <a:cubicBezTo>
                  <a:pt x="309948" y="13488"/>
                  <a:pt x="13488" y="309948"/>
                  <a:pt x="13488" y="674387"/>
                </a:cubicBezTo>
                <a:cubicBezTo>
                  <a:pt x="13488" y="1038825"/>
                  <a:pt x="309948" y="1335285"/>
                  <a:pt x="674387" y="1335285"/>
                </a:cubicBezTo>
                <a:cubicBezTo>
                  <a:pt x="1038825" y="1335285"/>
                  <a:pt x="1335285" y="1038825"/>
                  <a:pt x="1335285" y="674387"/>
                </a:cubicBezTo>
                <a:cubicBezTo>
                  <a:pt x="1335285" y="309948"/>
                  <a:pt x="1038825" y="13488"/>
                  <a:pt x="674387" y="13488"/>
                </a:cubicBezTo>
                <a:close/>
                <a:moveTo>
                  <a:pt x="725100" y="947378"/>
                </a:moveTo>
                <a:lnTo>
                  <a:pt x="715524" y="937802"/>
                </a:lnTo>
                <a:lnTo>
                  <a:pt x="967610" y="685716"/>
                </a:lnTo>
                <a:lnTo>
                  <a:pt x="377656" y="685716"/>
                </a:lnTo>
                <a:lnTo>
                  <a:pt x="377656" y="672228"/>
                </a:lnTo>
                <a:lnTo>
                  <a:pt x="964912" y="672228"/>
                </a:lnTo>
                <a:lnTo>
                  <a:pt x="715659" y="422840"/>
                </a:lnTo>
                <a:lnTo>
                  <a:pt x="725235" y="413264"/>
                </a:lnTo>
                <a:lnTo>
                  <a:pt x="989460" y="677489"/>
                </a:lnTo>
                <a:lnTo>
                  <a:pt x="986628" y="680321"/>
                </a:lnTo>
                <a:lnTo>
                  <a:pt x="989460" y="683154"/>
                </a:lnTo>
                <a:lnTo>
                  <a:pt x="725100" y="947378"/>
                </a:lnTo>
                <a:close/>
              </a:path>
            </a:pathLst>
          </a:custGeom>
          <a:solidFill>
            <a:srgbClr val="000000"/>
          </a:solidFill>
          <a:ln w="13430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sz="85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с таблицей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9001233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043743382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801322955" name="Title 11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7074168" cy="1271352"/>
          </a:xfrm>
        </p:spPr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grpSp>
        <p:nvGrpSpPr>
          <p:cNvPr id="1244925969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521083591" name="Table Placeholder 7"/>
          <p:cNvSpPr>
            <a:spLocks noGrp="1"/>
          </p:cNvSpPr>
          <p:nvPr>
            <p:ph type="tbl" sz="quarter" idx="15" hasCustomPrompt="1"/>
          </p:nvPr>
        </p:nvSpPr>
        <p:spPr bwMode="auto">
          <a:xfrm>
            <a:off x="6096000" y="2494687"/>
            <a:ext cx="5905593" cy="1306867"/>
          </a:xfrm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Таблица</a:t>
            </a:r>
            <a:endParaRPr/>
          </a:p>
        </p:txBody>
      </p:sp>
      <p:sp>
        <p:nvSpPr>
          <p:cNvPr id="1003902034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0793444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2062569524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041856593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6028051" y="3429000"/>
            <a:ext cx="6046469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/>
                <a:ea typeface="MTS Text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399209477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10177" y="267557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830846350" name="Text Placeholder 4"/>
          <p:cNvSpPr>
            <a:spLocks noGrp="1"/>
          </p:cNvSpPr>
          <p:nvPr>
            <p:ph type="body" sz="quarter" idx="129" hasCustomPrompt="1"/>
          </p:nvPr>
        </p:nvSpPr>
        <p:spPr bwMode="auto">
          <a:xfrm>
            <a:off x="1762343" y="2675575"/>
            <a:ext cx="183942" cy="183952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32463663" name="Text Placeholder 4"/>
          <p:cNvSpPr>
            <a:spLocks noGrp="1"/>
          </p:cNvSpPr>
          <p:nvPr>
            <p:ph type="body" sz="quarter" idx="132" hasCustomPrompt="1"/>
          </p:nvPr>
        </p:nvSpPr>
        <p:spPr bwMode="auto">
          <a:xfrm>
            <a:off x="4137170" y="2675575"/>
            <a:ext cx="183942" cy="183952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2053884249" name="Straight Connector 29"/>
          <p:cNvCxnSpPr/>
          <p:nvPr/>
        </p:nvCxnSpPr>
        <p:spPr bwMode="auto"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337650" name="Straight Connector 30"/>
          <p:cNvCxnSpPr/>
          <p:nvPr/>
        </p:nvCxnSpPr>
        <p:spPr bwMode="auto"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1190164" name="Text Placeholder 14"/>
          <p:cNvSpPr>
            <a:spLocks noGrp="1"/>
          </p:cNvSpPr>
          <p:nvPr>
            <p:ph type="body" sz="quarter" idx="139" hasCustomPrompt="1"/>
          </p:nvPr>
        </p:nvSpPr>
        <p:spPr bwMode="auto">
          <a:xfrm>
            <a:off x="2538623" y="267557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1265053305" name="Text Placeholder 14"/>
          <p:cNvSpPr>
            <a:spLocks noGrp="1"/>
          </p:cNvSpPr>
          <p:nvPr>
            <p:ph type="body" sz="quarter" idx="140" hasCustomPrompt="1"/>
          </p:nvPr>
        </p:nvSpPr>
        <p:spPr bwMode="auto">
          <a:xfrm>
            <a:off x="210177" y="379615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1438653532" name="Text Placeholder 4"/>
          <p:cNvSpPr>
            <a:spLocks noGrp="1"/>
          </p:cNvSpPr>
          <p:nvPr>
            <p:ph type="body" sz="quarter" idx="141" hasCustomPrompt="1"/>
          </p:nvPr>
        </p:nvSpPr>
        <p:spPr bwMode="auto">
          <a:xfrm>
            <a:off x="1762343" y="3796155"/>
            <a:ext cx="183942" cy="183952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104450954" name="Text Placeholder 4"/>
          <p:cNvSpPr>
            <a:spLocks noGrp="1"/>
          </p:cNvSpPr>
          <p:nvPr>
            <p:ph type="body" sz="quarter" idx="142" hasCustomPrompt="1"/>
          </p:nvPr>
        </p:nvSpPr>
        <p:spPr bwMode="auto">
          <a:xfrm>
            <a:off x="4137170" y="3796155"/>
            <a:ext cx="183942" cy="183952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1919163915" name="Straight Connector 39"/>
          <p:cNvCxnSpPr/>
          <p:nvPr/>
        </p:nvCxnSpPr>
        <p:spPr bwMode="auto">
          <a:xfrm>
            <a:off x="190407" y="3620139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7426049" name="Straight Connector 40"/>
          <p:cNvCxnSpPr/>
          <p:nvPr/>
        </p:nvCxnSpPr>
        <p:spPr bwMode="auto">
          <a:xfrm>
            <a:off x="2555930" y="3620139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5147020" name="Text Placeholder 14"/>
          <p:cNvSpPr>
            <a:spLocks noGrp="1"/>
          </p:cNvSpPr>
          <p:nvPr>
            <p:ph type="body" sz="quarter" idx="143" hasCustomPrompt="1"/>
          </p:nvPr>
        </p:nvSpPr>
        <p:spPr bwMode="auto">
          <a:xfrm>
            <a:off x="2538623" y="379615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с таблицей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73236818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440922678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626659139" name="Title 11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10751211" cy="1271352"/>
          </a:xfrm>
        </p:spPr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grpSp>
        <p:nvGrpSpPr>
          <p:cNvPr id="831203316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627632941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552385589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726833515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953394443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24815" y="5281508"/>
            <a:ext cx="4655977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осква и </a:t>
            </a:r>
            <a:br>
              <a:rPr lang="ru-RU"/>
            </a:br>
            <a:r>
              <a:rPr lang="ru-RU"/>
              <a:t>Московская область</a:t>
            </a:r>
            <a:endParaRPr/>
          </a:p>
        </p:txBody>
      </p:sp>
      <p:sp>
        <p:nvSpPr>
          <p:cNvPr id="1929996449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24458" y="4304930"/>
            <a:ext cx="4769366" cy="1154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150" b="0" i="0" cap="all" spc="0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12млн</a:t>
            </a:r>
            <a:endParaRPr/>
          </a:p>
        </p:txBody>
      </p:sp>
      <p:sp>
        <p:nvSpPr>
          <p:cNvPr id="1273241128" name="Table Placeholder 7"/>
          <p:cNvSpPr>
            <a:spLocks noGrp="1"/>
          </p:cNvSpPr>
          <p:nvPr>
            <p:ph type="tbl" sz="quarter" idx="15" hasCustomPrompt="1"/>
          </p:nvPr>
        </p:nvSpPr>
        <p:spPr bwMode="auto">
          <a:xfrm>
            <a:off x="6096000" y="2494687"/>
            <a:ext cx="5905593" cy="1306867"/>
          </a:xfrm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Таблица</a:t>
            </a:r>
            <a:endParaRPr/>
          </a:p>
        </p:txBody>
      </p:sp>
      <p:sp>
        <p:nvSpPr>
          <p:cNvPr id="324646073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6028051" y="3429000"/>
            <a:ext cx="6046469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/>
                <a:ea typeface="MTS Text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с таблицей 4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217074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23428195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204018963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117679" y="3429000"/>
            <a:ext cx="11956642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/>
                <a:ea typeface="MTS Text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520090280" name="Title 11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8259169" cy="1271352"/>
          </a:xfrm>
        </p:spPr>
        <p:txBody>
          <a:bodyPr/>
          <a:lstStyle/>
          <a:p>
            <a:pPr>
              <a:defRPr/>
            </a:pPr>
            <a:r>
              <a:rPr lang="ru-RU"/>
              <a:t>Каналы прибыли</a:t>
            </a:r>
            <a:endParaRPr/>
          </a:p>
        </p:txBody>
      </p:sp>
      <p:grpSp>
        <p:nvGrpSpPr>
          <p:cNvPr id="1061190268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261353394" name="Table Placeholder 7"/>
          <p:cNvSpPr>
            <a:spLocks noGrp="1"/>
          </p:cNvSpPr>
          <p:nvPr>
            <p:ph type="tbl" sz="quarter" idx="15" hasCustomPrompt="1"/>
          </p:nvPr>
        </p:nvSpPr>
        <p:spPr bwMode="auto">
          <a:xfrm>
            <a:off x="190407" y="2840584"/>
            <a:ext cx="11811187" cy="1581034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Таблица</a:t>
            </a:r>
            <a:endParaRPr/>
          </a:p>
        </p:txBody>
      </p:sp>
      <p:sp>
        <p:nvSpPr>
          <p:cNvPr id="397138304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23423494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261072474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14378289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9042450" y="1477633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осква и </a:t>
            </a:r>
            <a:br>
              <a:rPr lang="ru-RU"/>
            </a:br>
            <a:r>
              <a:rPr lang="ru-RU"/>
              <a:t>Московская область</a:t>
            </a:r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Схем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1090942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870743048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651295783" name="Title 11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0"/>
            <a:ext cx="5312719" cy="1271352"/>
          </a:xfrm>
        </p:spPr>
        <p:txBody>
          <a:bodyPr/>
          <a:lstStyle/>
          <a:p>
            <a:pPr>
              <a:defRPr/>
            </a:pPr>
            <a:r>
              <a:rPr lang="ru-RU"/>
              <a:t>Разделение потребителей</a:t>
            </a:r>
            <a:endParaRPr/>
          </a:p>
        </p:txBody>
      </p:sp>
      <p:grpSp>
        <p:nvGrpSpPr>
          <p:cNvPr id="1369625737" name="Group 17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1" name="Freeform 20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296019891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688816547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993838143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852943763" name="Text Placeholder 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192583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016902519" name="Text Placeholder 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693219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48098370" name="Text Placeholder 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1193854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003558855" name="Text Placeholder 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1694490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96366020" name="Text Placeholder 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2195125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06376443" name="Text Placeholder 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2695761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1329953" name="Text Placeholder 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3196396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38285565" name="Text Placeholder 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3697032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4355496" name="Text Placeholder 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4197667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70371947" name="Text Placeholder 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4698303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703179371" name="Text Placeholder 4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5198938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87822406" name="Text Placeholder 4"/>
          <p:cNvSpPr>
            <a:spLocks noGrp="1"/>
          </p:cNvSpPr>
          <p:nvPr>
            <p:ph type="body" sz="quarter" idx="39" hasCustomPrompt="1"/>
          </p:nvPr>
        </p:nvSpPr>
        <p:spPr bwMode="auto">
          <a:xfrm>
            <a:off x="5699573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39248020" name="Text Placeholder 4"/>
          <p:cNvSpPr>
            <a:spLocks noGrp="1"/>
          </p:cNvSpPr>
          <p:nvPr>
            <p:ph type="body" sz="quarter" idx="40" hasCustomPrompt="1"/>
          </p:nvPr>
        </p:nvSpPr>
        <p:spPr bwMode="auto">
          <a:xfrm>
            <a:off x="6200210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21438688" name="Text Placeholder 4"/>
          <p:cNvSpPr>
            <a:spLocks noGrp="1"/>
          </p:cNvSpPr>
          <p:nvPr>
            <p:ph type="body" sz="quarter" idx="41" hasCustomPrompt="1"/>
          </p:nvPr>
        </p:nvSpPr>
        <p:spPr bwMode="auto">
          <a:xfrm>
            <a:off x="6700845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611185208" name="Text Placeholder 4"/>
          <p:cNvSpPr>
            <a:spLocks noGrp="1"/>
          </p:cNvSpPr>
          <p:nvPr>
            <p:ph type="body" sz="quarter" idx="42" hasCustomPrompt="1"/>
          </p:nvPr>
        </p:nvSpPr>
        <p:spPr bwMode="auto">
          <a:xfrm>
            <a:off x="7201481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118903612" name="Text Placeholder 4"/>
          <p:cNvSpPr>
            <a:spLocks noGrp="1"/>
          </p:cNvSpPr>
          <p:nvPr>
            <p:ph type="body" sz="quarter" idx="43" hasCustomPrompt="1"/>
          </p:nvPr>
        </p:nvSpPr>
        <p:spPr bwMode="auto">
          <a:xfrm>
            <a:off x="7702116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611753887" name="Text Placeholder 4"/>
          <p:cNvSpPr>
            <a:spLocks noGrp="1"/>
          </p:cNvSpPr>
          <p:nvPr>
            <p:ph type="body" sz="quarter" idx="44" hasCustomPrompt="1"/>
          </p:nvPr>
        </p:nvSpPr>
        <p:spPr bwMode="auto">
          <a:xfrm>
            <a:off x="8202752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6838574" name="Text Placeholder 4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8703387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43673343" name="Text Placeholder 4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9204023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662198879" name="Text Placeholder 4"/>
          <p:cNvSpPr>
            <a:spLocks noGrp="1"/>
          </p:cNvSpPr>
          <p:nvPr>
            <p:ph type="body" sz="quarter" idx="47" hasCustomPrompt="1"/>
          </p:nvPr>
        </p:nvSpPr>
        <p:spPr bwMode="auto">
          <a:xfrm>
            <a:off x="9704655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75747057" name="Text Placeholder 4"/>
          <p:cNvSpPr>
            <a:spLocks noGrp="1"/>
          </p:cNvSpPr>
          <p:nvPr>
            <p:ph type="body" sz="quarter" idx="48" hasCustomPrompt="1"/>
          </p:nvPr>
        </p:nvSpPr>
        <p:spPr bwMode="auto">
          <a:xfrm>
            <a:off x="192583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494243235" name="Text Placeholder 4"/>
          <p:cNvSpPr>
            <a:spLocks noGrp="1"/>
          </p:cNvSpPr>
          <p:nvPr>
            <p:ph type="body" sz="quarter" idx="49" hasCustomPrompt="1"/>
          </p:nvPr>
        </p:nvSpPr>
        <p:spPr bwMode="auto">
          <a:xfrm>
            <a:off x="693219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05280164" name="Text Placeholder 4"/>
          <p:cNvSpPr>
            <a:spLocks noGrp="1"/>
          </p:cNvSpPr>
          <p:nvPr>
            <p:ph type="body" sz="quarter" idx="50" hasCustomPrompt="1"/>
          </p:nvPr>
        </p:nvSpPr>
        <p:spPr bwMode="auto">
          <a:xfrm>
            <a:off x="1193854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679546704" name="Text Placeholder 4"/>
          <p:cNvSpPr>
            <a:spLocks noGrp="1"/>
          </p:cNvSpPr>
          <p:nvPr>
            <p:ph type="body" sz="quarter" idx="51" hasCustomPrompt="1"/>
          </p:nvPr>
        </p:nvSpPr>
        <p:spPr bwMode="auto">
          <a:xfrm>
            <a:off x="1694490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198806596" name="Text Placeholder 4"/>
          <p:cNvSpPr>
            <a:spLocks noGrp="1"/>
          </p:cNvSpPr>
          <p:nvPr>
            <p:ph type="body" sz="quarter" idx="52" hasCustomPrompt="1"/>
          </p:nvPr>
        </p:nvSpPr>
        <p:spPr bwMode="auto">
          <a:xfrm>
            <a:off x="2195125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54310845" name="Text Placeholder 4"/>
          <p:cNvSpPr>
            <a:spLocks noGrp="1"/>
          </p:cNvSpPr>
          <p:nvPr>
            <p:ph type="body" sz="quarter" idx="53" hasCustomPrompt="1"/>
          </p:nvPr>
        </p:nvSpPr>
        <p:spPr bwMode="auto">
          <a:xfrm>
            <a:off x="2695761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721221125" name="Text Placeholder 4"/>
          <p:cNvSpPr>
            <a:spLocks noGrp="1"/>
          </p:cNvSpPr>
          <p:nvPr>
            <p:ph type="body" sz="quarter" idx="54" hasCustomPrompt="1"/>
          </p:nvPr>
        </p:nvSpPr>
        <p:spPr bwMode="auto">
          <a:xfrm>
            <a:off x="3196396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31292812" name="Text Placeholder 4"/>
          <p:cNvSpPr>
            <a:spLocks noGrp="1"/>
          </p:cNvSpPr>
          <p:nvPr>
            <p:ph type="body" sz="quarter" idx="55" hasCustomPrompt="1"/>
          </p:nvPr>
        </p:nvSpPr>
        <p:spPr bwMode="auto">
          <a:xfrm>
            <a:off x="3697032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740540731" name="Text Placeholder 4"/>
          <p:cNvSpPr>
            <a:spLocks noGrp="1"/>
          </p:cNvSpPr>
          <p:nvPr>
            <p:ph type="body" sz="quarter" idx="56" hasCustomPrompt="1"/>
          </p:nvPr>
        </p:nvSpPr>
        <p:spPr bwMode="auto">
          <a:xfrm>
            <a:off x="4197667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529401940" name="Text Placeholder 4"/>
          <p:cNvSpPr>
            <a:spLocks noGrp="1"/>
          </p:cNvSpPr>
          <p:nvPr>
            <p:ph type="body" sz="quarter" idx="57" hasCustomPrompt="1"/>
          </p:nvPr>
        </p:nvSpPr>
        <p:spPr bwMode="auto">
          <a:xfrm>
            <a:off x="4698303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97429137" name="Text Placeholder 4"/>
          <p:cNvSpPr>
            <a:spLocks noGrp="1"/>
          </p:cNvSpPr>
          <p:nvPr>
            <p:ph type="body" sz="quarter" idx="58" hasCustomPrompt="1"/>
          </p:nvPr>
        </p:nvSpPr>
        <p:spPr bwMode="auto">
          <a:xfrm>
            <a:off x="5198938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643932" name="Text Placeholder 4"/>
          <p:cNvSpPr>
            <a:spLocks noGrp="1"/>
          </p:cNvSpPr>
          <p:nvPr>
            <p:ph type="body" sz="quarter" idx="59" hasCustomPrompt="1"/>
          </p:nvPr>
        </p:nvSpPr>
        <p:spPr bwMode="auto">
          <a:xfrm>
            <a:off x="5699573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755295165" name="Text Placeholder 4"/>
          <p:cNvSpPr>
            <a:spLocks noGrp="1"/>
          </p:cNvSpPr>
          <p:nvPr>
            <p:ph type="body" sz="quarter" idx="60" hasCustomPrompt="1"/>
          </p:nvPr>
        </p:nvSpPr>
        <p:spPr bwMode="auto">
          <a:xfrm>
            <a:off x="6200210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500432834" name="Text Placeholder 4"/>
          <p:cNvSpPr>
            <a:spLocks noGrp="1"/>
          </p:cNvSpPr>
          <p:nvPr>
            <p:ph type="body" sz="quarter" idx="61" hasCustomPrompt="1"/>
          </p:nvPr>
        </p:nvSpPr>
        <p:spPr bwMode="auto">
          <a:xfrm>
            <a:off x="6700845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680918454" name="Text Placeholder 4"/>
          <p:cNvSpPr>
            <a:spLocks noGrp="1"/>
          </p:cNvSpPr>
          <p:nvPr>
            <p:ph type="body" sz="quarter" idx="62" hasCustomPrompt="1"/>
          </p:nvPr>
        </p:nvSpPr>
        <p:spPr bwMode="auto">
          <a:xfrm>
            <a:off x="7201481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85344385" name="Text Placeholder 4"/>
          <p:cNvSpPr>
            <a:spLocks noGrp="1"/>
          </p:cNvSpPr>
          <p:nvPr>
            <p:ph type="body" sz="quarter" idx="63" hasCustomPrompt="1"/>
          </p:nvPr>
        </p:nvSpPr>
        <p:spPr bwMode="auto">
          <a:xfrm>
            <a:off x="7702116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764970877" name="Text Placeholder 4"/>
          <p:cNvSpPr>
            <a:spLocks noGrp="1"/>
          </p:cNvSpPr>
          <p:nvPr>
            <p:ph type="body" sz="quarter" idx="64" hasCustomPrompt="1"/>
          </p:nvPr>
        </p:nvSpPr>
        <p:spPr bwMode="auto">
          <a:xfrm>
            <a:off x="8202752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70354035" name="Text Placeholder 4"/>
          <p:cNvSpPr>
            <a:spLocks noGrp="1"/>
          </p:cNvSpPr>
          <p:nvPr>
            <p:ph type="body" sz="quarter" idx="65" hasCustomPrompt="1"/>
          </p:nvPr>
        </p:nvSpPr>
        <p:spPr bwMode="auto">
          <a:xfrm>
            <a:off x="8703387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31723080" name="Text Placeholder 4"/>
          <p:cNvSpPr>
            <a:spLocks noGrp="1"/>
          </p:cNvSpPr>
          <p:nvPr>
            <p:ph type="body" sz="quarter" idx="66" hasCustomPrompt="1"/>
          </p:nvPr>
        </p:nvSpPr>
        <p:spPr bwMode="auto">
          <a:xfrm>
            <a:off x="9204023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09604409" name="Text Placeholder 4"/>
          <p:cNvSpPr>
            <a:spLocks noGrp="1"/>
          </p:cNvSpPr>
          <p:nvPr>
            <p:ph type="body" sz="quarter" idx="67" hasCustomPrompt="1"/>
          </p:nvPr>
        </p:nvSpPr>
        <p:spPr bwMode="auto">
          <a:xfrm>
            <a:off x="9704655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343342413" name="Text Placeholder 4"/>
          <p:cNvSpPr>
            <a:spLocks noGrp="1"/>
          </p:cNvSpPr>
          <p:nvPr>
            <p:ph type="body" sz="quarter" idx="68" hasCustomPrompt="1"/>
          </p:nvPr>
        </p:nvSpPr>
        <p:spPr bwMode="auto">
          <a:xfrm>
            <a:off x="192583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374854204" name="Text Placeholder 4"/>
          <p:cNvSpPr>
            <a:spLocks noGrp="1"/>
          </p:cNvSpPr>
          <p:nvPr>
            <p:ph type="body" sz="quarter" idx="69" hasCustomPrompt="1"/>
          </p:nvPr>
        </p:nvSpPr>
        <p:spPr bwMode="auto">
          <a:xfrm>
            <a:off x="693219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51496714" name="Text Placeholder 4"/>
          <p:cNvSpPr>
            <a:spLocks noGrp="1"/>
          </p:cNvSpPr>
          <p:nvPr>
            <p:ph type="body" sz="quarter" idx="70" hasCustomPrompt="1"/>
          </p:nvPr>
        </p:nvSpPr>
        <p:spPr bwMode="auto">
          <a:xfrm>
            <a:off x="1193854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181244057" name="Text Placeholder 4"/>
          <p:cNvSpPr>
            <a:spLocks noGrp="1"/>
          </p:cNvSpPr>
          <p:nvPr>
            <p:ph type="body" sz="quarter" idx="71" hasCustomPrompt="1"/>
          </p:nvPr>
        </p:nvSpPr>
        <p:spPr bwMode="auto">
          <a:xfrm>
            <a:off x="1694490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782382757" name="Text Placeholder 4"/>
          <p:cNvSpPr>
            <a:spLocks noGrp="1"/>
          </p:cNvSpPr>
          <p:nvPr>
            <p:ph type="body" sz="quarter" idx="72" hasCustomPrompt="1"/>
          </p:nvPr>
        </p:nvSpPr>
        <p:spPr bwMode="auto">
          <a:xfrm>
            <a:off x="2195125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136588258" name="Text Placeholder 4"/>
          <p:cNvSpPr>
            <a:spLocks noGrp="1"/>
          </p:cNvSpPr>
          <p:nvPr>
            <p:ph type="body" sz="quarter" idx="73" hasCustomPrompt="1"/>
          </p:nvPr>
        </p:nvSpPr>
        <p:spPr bwMode="auto">
          <a:xfrm>
            <a:off x="2695761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97898643" name="Text Placeholder 4"/>
          <p:cNvSpPr>
            <a:spLocks noGrp="1"/>
          </p:cNvSpPr>
          <p:nvPr>
            <p:ph type="body" sz="quarter" idx="74" hasCustomPrompt="1"/>
          </p:nvPr>
        </p:nvSpPr>
        <p:spPr bwMode="auto">
          <a:xfrm>
            <a:off x="3196396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98810016" name="Text Placeholder 4"/>
          <p:cNvSpPr>
            <a:spLocks noGrp="1"/>
          </p:cNvSpPr>
          <p:nvPr>
            <p:ph type="body" sz="quarter" idx="75" hasCustomPrompt="1"/>
          </p:nvPr>
        </p:nvSpPr>
        <p:spPr bwMode="auto">
          <a:xfrm>
            <a:off x="3697032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71110796" name="Text Placeholder 4"/>
          <p:cNvSpPr>
            <a:spLocks noGrp="1"/>
          </p:cNvSpPr>
          <p:nvPr>
            <p:ph type="body" sz="quarter" idx="76" hasCustomPrompt="1"/>
          </p:nvPr>
        </p:nvSpPr>
        <p:spPr bwMode="auto">
          <a:xfrm>
            <a:off x="4197667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45657713" name="Text Placeholder 4"/>
          <p:cNvSpPr>
            <a:spLocks noGrp="1"/>
          </p:cNvSpPr>
          <p:nvPr>
            <p:ph type="body" sz="quarter" idx="77" hasCustomPrompt="1"/>
          </p:nvPr>
        </p:nvSpPr>
        <p:spPr bwMode="auto">
          <a:xfrm>
            <a:off x="4698303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507904008" name="Text Placeholder 4"/>
          <p:cNvSpPr>
            <a:spLocks noGrp="1"/>
          </p:cNvSpPr>
          <p:nvPr>
            <p:ph type="body" sz="quarter" idx="78" hasCustomPrompt="1"/>
          </p:nvPr>
        </p:nvSpPr>
        <p:spPr bwMode="auto">
          <a:xfrm>
            <a:off x="5198938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410938982" name="Text Placeholder 4"/>
          <p:cNvSpPr>
            <a:spLocks noGrp="1"/>
          </p:cNvSpPr>
          <p:nvPr>
            <p:ph type="body" sz="quarter" idx="79" hasCustomPrompt="1"/>
          </p:nvPr>
        </p:nvSpPr>
        <p:spPr bwMode="auto">
          <a:xfrm>
            <a:off x="5699573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55979619" name="Text Placeholder 4"/>
          <p:cNvSpPr>
            <a:spLocks noGrp="1"/>
          </p:cNvSpPr>
          <p:nvPr>
            <p:ph type="body" sz="quarter" idx="80" hasCustomPrompt="1"/>
          </p:nvPr>
        </p:nvSpPr>
        <p:spPr bwMode="auto">
          <a:xfrm>
            <a:off x="6200210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520371131" name="Text Placeholder 4"/>
          <p:cNvSpPr>
            <a:spLocks noGrp="1"/>
          </p:cNvSpPr>
          <p:nvPr>
            <p:ph type="body" sz="quarter" idx="81" hasCustomPrompt="1"/>
          </p:nvPr>
        </p:nvSpPr>
        <p:spPr bwMode="auto">
          <a:xfrm>
            <a:off x="6700845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764937899" name="Text Placeholder 4"/>
          <p:cNvSpPr>
            <a:spLocks noGrp="1"/>
          </p:cNvSpPr>
          <p:nvPr>
            <p:ph type="body" sz="quarter" idx="82" hasCustomPrompt="1"/>
          </p:nvPr>
        </p:nvSpPr>
        <p:spPr bwMode="auto">
          <a:xfrm>
            <a:off x="7201481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013479249" name="Text Placeholder 4"/>
          <p:cNvSpPr>
            <a:spLocks noGrp="1"/>
          </p:cNvSpPr>
          <p:nvPr>
            <p:ph type="body" sz="quarter" idx="83" hasCustomPrompt="1"/>
          </p:nvPr>
        </p:nvSpPr>
        <p:spPr bwMode="auto">
          <a:xfrm>
            <a:off x="7702116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8080960" name="Text Placeholder 4"/>
          <p:cNvSpPr>
            <a:spLocks noGrp="1"/>
          </p:cNvSpPr>
          <p:nvPr>
            <p:ph type="body" sz="quarter" idx="84" hasCustomPrompt="1"/>
          </p:nvPr>
        </p:nvSpPr>
        <p:spPr bwMode="auto">
          <a:xfrm>
            <a:off x="8202752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85759109" name="Text Placeholder 4"/>
          <p:cNvSpPr>
            <a:spLocks noGrp="1"/>
          </p:cNvSpPr>
          <p:nvPr>
            <p:ph type="body" sz="quarter" idx="85" hasCustomPrompt="1"/>
          </p:nvPr>
        </p:nvSpPr>
        <p:spPr bwMode="auto">
          <a:xfrm>
            <a:off x="8703387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579511076" name="Text Placeholder 4"/>
          <p:cNvSpPr>
            <a:spLocks noGrp="1"/>
          </p:cNvSpPr>
          <p:nvPr>
            <p:ph type="body" sz="quarter" idx="86" hasCustomPrompt="1"/>
          </p:nvPr>
        </p:nvSpPr>
        <p:spPr bwMode="auto">
          <a:xfrm>
            <a:off x="9204023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45342188" name="Text Placeholder 4"/>
          <p:cNvSpPr>
            <a:spLocks noGrp="1"/>
          </p:cNvSpPr>
          <p:nvPr>
            <p:ph type="body" sz="quarter" idx="87" hasCustomPrompt="1"/>
          </p:nvPr>
        </p:nvSpPr>
        <p:spPr bwMode="auto">
          <a:xfrm>
            <a:off x="9704655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11821592" name="Text Placeholder 4"/>
          <p:cNvSpPr>
            <a:spLocks noGrp="1"/>
          </p:cNvSpPr>
          <p:nvPr>
            <p:ph type="body" sz="quarter" idx="88" hasCustomPrompt="1"/>
          </p:nvPr>
        </p:nvSpPr>
        <p:spPr bwMode="auto">
          <a:xfrm>
            <a:off x="192583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596915034" name="Text Placeholder 4"/>
          <p:cNvSpPr>
            <a:spLocks noGrp="1"/>
          </p:cNvSpPr>
          <p:nvPr>
            <p:ph type="body" sz="quarter" idx="89" hasCustomPrompt="1"/>
          </p:nvPr>
        </p:nvSpPr>
        <p:spPr bwMode="auto">
          <a:xfrm>
            <a:off x="693219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58630875" name="Text Placeholder 4"/>
          <p:cNvSpPr>
            <a:spLocks noGrp="1"/>
          </p:cNvSpPr>
          <p:nvPr>
            <p:ph type="body" sz="quarter" idx="90" hasCustomPrompt="1"/>
          </p:nvPr>
        </p:nvSpPr>
        <p:spPr bwMode="auto">
          <a:xfrm>
            <a:off x="1193854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95020028" name="Text Placeholder 4"/>
          <p:cNvSpPr>
            <a:spLocks noGrp="1"/>
          </p:cNvSpPr>
          <p:nvPr>
            <p:ph type="body" sz="quarter" idx="91" hasCustomPrompt="1"/>
          </p:nvPr>
        </p:nvSpPr>
        <p:spPr bwMode="auto">
          <a:xfrm>
            <a:off x="1694490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24678752" name="Text Placeholder 4"/>
          <p:cNvSpPr>
            <a:spLocks noGrp="1"/>
          </p:cNvSpPr>
          <p:nvPr>
            <p:ph type="body" sz="quarter" idx="92" hasCustomPrompt="1"/>
          </p:nvPr>
        </p:nvSpPr>
        <p:spPr bwMode="auto">
          <a:xfrm>
            <a:off x="2195125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59577292" name="Text Placeholder 4"/>
          <p:cNvSpPr>
            <a:spLocks noGrp="1"/>
          </p:cNvSpPr>
          <p:nvPr>
            <p:ph type="body" sz="quarter" idx="93" hasCustomPrompt="1"/>
          </p:nvPr>
        </p:nvSpPr>
        <p:spPr bwMode="auto">
          <a:xfrm>
            <a:off x="2695761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322626022" name="Text Placeholder 4"/>
          <p:cNvSpPr>
            <a:spLocks noGrp="1"/>
          </p:cNvSpPr>
          <p:nvPr>
            <p:ph type="body" sz="quarter" idx="94" hasCustomPrompt="1"/>
          </p:nvPr>
        </p:nvSpPr>
        <p:spPr bwMode="auto">
          <a:xfrm>
            <a:off x="3196396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313805859" name="Text Placeholder 4"/>
          <p:cNvSpPr>
            <a:spLocks noGrp="1"/>
          </p:cNvSpPr>
          <p:nvPr>
            <p:ph type="body" sz="quarter" idx="95" hasCustomPrompt="1"/>
          </p:nvPr>
        </p:nvSpPr>
        <p:spPr bwMode="auto">
          <a:xfrm>
            <a:off x="3697032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050752072" name="Text Placeholder 4"/>
          <p:cNvSpPr>
            <a:spLocks noGrp="1"/>
          </p:cNvSpPr>
          <p:nvPr>
            <p:ph type="body" sz="quarter" idx="96" hasCustomPrompt="1"/>
          </p:nvPr>
        </p:nvSpPr>
        <p:spPr bwMode="auto">
          <a:xfrm>
            <a:off x="4197667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385299259" name="Text Placeholder 4"/>
          <p:cNvSpPr>
            <a:spLocks noGrp="1"/>
          </p:cNvSpPr>
          <p:nvPr>
            <p:ph type="body" sz="quarter" idx="97" hasCustomPrompt="1"/>
          </p:nvPr>
        </p:nvSpPr>
        <p:spPr bwMode="auto">
          <a:xfrm>
            <a:off x="4698303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67235740" name="Text Placeholder 4"/>
          <p:cNvSpPr>
            <a:spLocks noGrp="1"/>
          </p:cNvSpPr>
          <p:nvPr>
            <p:ph type="body" sz="quarter" idx="98" hasCustomPrompt="1"/>
          </p:nvPr>
        </p:nvSpPr>
        <p:spPr bwMode="auto">
          <a:xfrm>
            <a:off x="5198938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0044734" name="Text Placeholder 4"/>
          <p:cNvSpPr>
            <a:spLocks noGrp="1"/>
          </p:cNvSpPr>
          <p:nvPr>
            <p:ph type="body" sz="quarter" idx="99" hasCustomPrompt="1"/>
          </p:nvPr>
        </p:nvSpPr>
        <p:spPr bwMode="auto">
          <a:xfrm>
            <a:off x="5699573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769496907" name="Text Placeholder 4"/>
          <p:cNvSpPr>
            <a:spLocks noGrp="1"/>
          </p:cNvSpPr>
          <p:nvPr>
            <p:ph type="body" sz="quarter" idx="100" hasCustomPrompt="1"/>
          </p:nvPr>
        </p:nvSpPr>
        <p:spPr bwMode="auto">
          <a:xfrm>
            <a:off x="6200210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76003499" name="Text Placeholder 4"/>
          <p:cNvSpPr>
            <a:spLocks noGrp="1"/>
          </p:cNvSpPr>
          <p:nvPr>
            <p:ph type="body" sz="quarter" idx="101" hasCustomPrompt="1"/>
          </p:nvPr>
        </p:nvSpPr>
        <p:spPr bwMode="auto">
          <a:xfrm>
            <a:off x="6700845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407912621" name="Text Placeholder 4"/>
          <p:cNvSpPr>
            <a:spLocks noGrp="1"/>
          </p:cNvSpPr>
          <p:nvPr>
            <p:ph type="body" sz="quarter" idx="102" hasCustomPrompt="1"/>
          </p:nvPr>
        </p:nvSpPr>
        <p:spPr bwMode="auto">
          <a:xfrm>
            <a:off x="7201481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615086230" name="Text Placeholder 4"/>
          <p:cNvSpPr>
            <a:spLocks noGrp="1"/>
          </p:cNvSpPr>
          <p:nvPr>
            <p:ph type="body" sz="quarter" idx="103" hasCustomPrompt="1"/>
          </p:nvPr>
        </p:nvSpPr>
        <p:spPr bwMode="auto">
          <a:xfrm>
            <a:off x="7702116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145062377" name="Text Placeholder 4"/>
          <p:cNvSpPr>
            <a:spLocks noGrp="1"/>
          </p:cNvSpPr>
          <p:nvPr>
            <p:ph type="body" sz="quarter" idx="104" hasCustomPrompt="1"/>
          </p:nvPr>
        </p:nvSpPr>
        <p:spPr bwMode="auto">
          <a:xfrm>
            <a:off x="8202752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87272443" name="Text Placeholder 4"/>
          <p:cNvSpPr>
            <a:spLocks noGrp="1"/>
          </p:cNvSpPr>
          <p:nvPr>
            <p:ph type="body" sz="quarter" idx="105" hasCustomPrompt="1"/>
          </p:nvPr>
        </p:nvSpPr>
        <p:spPr bwMode="auto">
          <a:xfrm>
            <a:off x="8703387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36317748" name="Text Placeholder 4"/>
          <p:cNvSpPr>
            <a:spLocks noGrp="1"/>
          </p:cNvSpPr>
          <p:nvPr>
            <p:ph type="body" sz="quarter" idx="106" hasCustomPrompt="1"/>
          </p:nvPr>
        </p:nvSpPr>
        <p:spPr bwMode="auto">
          <a:xfrm>
            <a:off x="9204023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112503022" name="Text Placeholder 4"/>
          <p:cNvSpPr>
            <a:spLocks noGrp="1"/>
          </p:cNvSpPr>
          <p:nvPr>
            <p:ph type="body" sz="quarter" idx="107" hasCustomPrompt="1"/>
          </p:nvPr>
        </p:nvSpPr>
        <p:spPr bwMode="auto">
          <a:xfrm>
            <a:off x="9704655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27751778" name="Text Placeholder 4"/>
          <p:cNvSpPr>
            <a:spLocks noGrp="1"/>
          </p:cNvSpPr>
          <p:nvPr>
            <p:ph type="body" sz="quarter" idx="108" hasCustomPrompt="1"/>
          </p:nvPr>
        </p:nvSpPr>
        <p:spPr bwMode="auto">
          <a:xfrm>
            <a:off x="192583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537280742" name="Text Placeholder 4"/>
          <p:cNvSpPr>
            <a:spLocks noGrp="1"/>
          </p:cNvSpPr>
          <p:nvPr>
            <p:ph type="body" sz="quarter" idx="109" hasCustomPrompt="1"/>
          </p:nvPr>
        </p:nvSpPr>
        <p:spPr bwMode="auto">
          <a:xfrm>
            <a:off x="693219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86225093" name="Text Placeholder 4"/>
          <p:cNvSpPr>
            <a:spLocks noGrp="1"/>
          </p:cNvSpPr>
          <p:nvPr>
            <p:ph type="body" sz="quarter" idx="110" hasCustomPrompt="1"/>
          </p:nvPr>
        </p:nvSpPr>
        <p:spPr bwMode="auto">
          <a:xfrm>
            <a:off x="1193854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72736686" name="Text Placeholder 4"/>
          <p:cNvSpPr>
            <a:spLocks noGrp="1"/>
          </p:cNvSpPr>
          <p:nvPr>
            <p:ph type="body" sz="quarter" idx="111" hasCustomPrompt="1"/>
          </p:nvPr>
        </p:nvSpPr>
        <p:spPr bwMode="auto">
          <a:xfrm>
            <a:off x="1694490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89409179" name="Text Placeholder 4"/>
          <p:cNvSpPr>
            <a:spLocks noGrp="1"/>
          </p:cNvSpPr>
          <p:nvPr>
            <p:ph type="body" sz="quarter" idx="112" hasCustomPrompt="1"/>
          </p:nvPr>
        </p:nvSpPr>
        <p:spPr bwMode="auto">
          <a:xfrm>
            <a:off x="2195125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351669481" name="Text Placeholder 4"/>
          <p:cNvSpPr>
            <a:spLocks noGrp="1"/>
          </p:cNvSpPr>
          <p:nvPr>
            <p:ph type="body" sz="quarter" idx="113" hasCustomPrompt="1"/>
          </p:nvPr>
        </p:nvSpPr>
        <p:spPr bwMode="auto">
          <a:xfrm>
            <a:off x="2695761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60339860" name="Text Placeholder 4"/>
          <p:cNvSpPr>
            <a:spLocks noGrp="1"/>
          </p:cNvSpPr>
          <p:nvPr>
            <p:ph type="body" sz="quarter" idx="114" hasCustomPrompt="1"/>
          </p:nvPr>
        </p:nvSpPr>
        <p:spPr bwMode="auto">
          <a:xfrm>
            <a:off x="3196396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54962160" name="Text Placeholder 4"/>
          <p:cNvSpPr>
            <a:spLocks noGrp="1"/>
          </p:cNvSpPr>
          <p:nvPr>
            <p:ph type="body" sz="quarter" idx="115" hasCustomPrompt="1"/>
          </p:nvPr>
        </p:nvSpPr>
        <p:spPr bwMode="auto">
          <a:xfrm>
            <a:off x="3697032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34328434" name="Text Placeholder 4"/>
          <p:cNvSpPr>
            <a:spLocks noGrp="1"/>
          </p:cNvSpPr>
          <p:nvPr>
            <p:ph type="body" sz="quarter" idx="116" hasCustomPrompt="1"/>
          </p:nvPr>
        </p:nvSpPr>
        <p:spPr bwMode="auto">
          <a:xfrm>
            <a:off x="4197667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416166252" name="Text Placeholder 4"/>
          <p:cNvSpPr>
            <a:spLocks noGrp="1"/>
          </p:cNvSpPr>
          <p:nvPr>
            <p:ph type="body" sz="quarter" idx="117" hasCustomPrompt="1"/>
          </p:nvPr>
        </p:nvSpPr>
        <p:spPr bwMode="auto">
          <a:xfrm>
            <a:off x="4698303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96970950" name="Text Placeholder 4"/>
          <p:cNvSpPr>
            <a:spLocks noGrp="1"/>
          </p:cNvSpPr>
          <p:nvPr>
            <p:ph type="body" sz="quarter" idx="118" hasCustomPrompt="1"/>
          </p:nvPr>
        </p:nvSpPr>
        <p:spPr bwMode="auto">
          <a:xfrm>
            <a:off x="5198938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10828618" name="Text Placeholder 4"/>
          <p:cNvSpPr>
            <a:spLocks noGrp="1"/>
          </p:cNvSpPr>
          <p:nvPr>
            <p:ph type="body" sz="quarter" idx="119" hasCustomPrompt="1"/>
          </p:nvPr>
        </p:nvSpPr>
        <p:spPr bwMode="auto">
          <a:xfrm>
            <a:off x="5699573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194395125" name="Text Placeholder 4"/>
          <p:cNvSpPr>
            <a:spLocks noGrp="1"/>
          </p:cNvSpPr>
          <p:nvPr>
            <p:ph type="body" sz="quarter" idx="120" hasCustomPrompt="1"/>
          </p:nvPr>
        </p:nvSpPr>
        <p:spPr bwMode="auto">
          <a:xfrm>
            <a:off x="6200210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581750001" name="Text Placeholder 4"/>
          <p:cNvSpPr>
            <a:spLocks noGrp="1"/>
          </p:cNvSpPr>
          <p:nvPr>
            <p:ph type="body" sz="quarter" idx="121" hasCustomPrompt="1"/>
          </p:nvPr>
        </p:nvSpPr>
        <p:spPr bwMode="auto">
          <a:xfrm>
            <a:off x="6700845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06622534" name="Text Placeholder 4"/>
          <p:cNvSpPr>
            <a:spLocks noGrp="1"/>
          </p:cNvSpPr>
          <p:nvPr>
            <p:ph type="body" sz="quarter" idx="122" hasCustomPrompt="1"/>
          </p:nvPr>
        </p:nvSpPr>
        <p:spPr bwMode="auto">
          <a:xfrm>
            <a:off x="7201481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638593794" name="Text Placeholder 4"/>
          <p:cNvSpPr>
            <a:spLocks noGrp="1"/>
          </p:cNvSpPr>
          <p:nvPr>
            <p:ph type="body" sz="quarter" idx="123" hasCustomPrompt="1"/>
          </p:nvPr>
        </p:nvSpPr>
        <p:spPr bwMode="auto">
          <a:xfrm>
            <a:off x="7702116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024266215" name="Text Placeholder 4"/>
          <p:cNvSpPr>
            <a:spLocks noGrp="1"/>
          </p:cNvSpPr>
          <p:nvPr>
            <p:ph type="body" sz="quarter" idx="124" hasCustomPrompt="1"/>
          </p:nvPr>
        </p:nvSpPr>
        <p:spPr bwMode="auto">
          <a:xfrm>
            <a:off x="8202752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8007422" name="Text Placeholder 4"/>
          <p:cNvSpPr>
            <a:spLocks noGrp="1"/>
          </p:cNvSpPr>
          <p:nvPr>
            <p:ph type="body" sz="quarter" idx="125" hasCustomPrompt="1"/>
          </p:nvPr>
        </p:nvSpPr>
        <p:spPr bwMode="auto">
          <a:xfrm>
            <a:off x="8703387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44767144" name="Text Placeholder 4"/>
          <p:cNvSpPr>
            <a:spLocks noGrp="1"/>
          </p:cNvSpPr>
          <p:nvPr>
            <p:ph type="body" sz="quarter" idx="126" hasCustomPrompt="1"/>
          </p:nvPr>
        </p:nvSpPr>
        <p:spPr bwMode="auto">
          <a:xfrm>
            <a:off x="9204023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60592323" name="Text Placeholder 4"/>
          <p:cNvSpPr>
            <a:spLocks noGrp="1"/>
          </p:cNvSpPr>
          <p:nvPr>
            <p:ph type="body" sz="quarter" idx="127" hasCustomPrompt="1"/>
          </p:nvPr>
        </p:nvSpPr>
        <p:spPr bwMode="auto">
          <a:xfrm>
            <a:off x="9704655" y="5449197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108875900" name="Text Placeholder 14"/>
          <p:cNvSpPr>
            <a:spLocks noGrp="1"/>
          </p:cNvSpPr>
          <p:nvPr>
            <p:ph type="body" sz="quarter" idx="128" hasCustomPrompt="1"/>
          </p:nvPr>
        </p:nvSpPr>
        <p:spPr bwMode="auto">
          <a:xfrm>
            <a:off x="6115770" y="98257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24</a:t>
            </a:r>
            <a:r>
              <a:rPr lang="en-US"/>
              <a:t>%</a:t>
            </a:r>
            <a:endParaRPr lang="ru-RU"/>
          </a:p>
        </p:txBody>
      </p:sp>
      <p:sp>
        <p:nvSpPr>
          <p:cNvPr id="447028556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115770" y="131492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2047628244" name="Text Placeholder 4"/>
          <p:cNvSpPr>
            <a:spLocks noGrp="1"/>
          </p:cNvSpPr>
          <p:nvPr>
            <p:ph type="body" sz="quarter" idx="129" hasCustomPrompt="1"/>
          </p:nvPr>
        </p:nvSpPr>
        <p:spPr bwMode="auto">
          <a:xfrm>
            <a:off x="7667936" y="991757"/>
            <a:ext cx="183942" cy="18395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770583819" name="Text Placeholder 14"/>
          <p:cNvSpPr>
            <a:spLocks noGrp="1"/>
          </p:cNvSpPr>
          <p:nvPr>
            <p:ph type="body" sz="quarter" idx="130" hasCustomPrompt="1"/>
          </p:nvPr>
        </p:nvSpPr>
        <p:spPr bwMode="auto">
          <a:xfrm>
            <a:off x="8472557" y="98257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7</a:t>
            </a:r>
            <a:r>
              <a:rPr lang="en-US"/>
              <a:t>%</a:t>
            </a:r>
            <a:endParaRPr lang="ru-RU"/>
          </a:p>
        </p:txBody>
      </p:sp>
      <p:sp>
        <p:nvSpPr>
          <p:cNvPr id="272539686" name="Text Placeholder 14"/>
          <p:cNvSpPr>
            <a:spLocks noGrp="1"/>
          </p:cNvSpPr>
          <p:nvPr>
            <p:ph type="body" sz="quarter" idx="131" hasCustomPrompt="1"/>
          </p:nvPr>
        </p:nvSpPr>
        <p:spPr bwMode="auto">
          <a:xfrm>
            <a:off x="8472557" y="131492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1133381140" name="Text Placeholder 4"/>
          <p:cNvSpPr>
            <a:spLocks noGrp="1"/>
          </p:cNvSpPr>
          <p:nvPr>
            <p:ph type="body" sz="quarter" idx="132" hasCustomPrompt="1"/>
          </p:nvPr>
        </p:nvSpPr>
        <p:spPr bwMode="auto">
          <a:xfrm>
            <a:off x="10020232" y="991757"/>
            <a:ext cx="183942" cy="18395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452873304" name="Text Placeholder 14"/>
          <p:cNvSpPr>
            <a:spLocks noGrp="1"/>
          </p:cNvSpPr>
          <p:nvPr>
            <p:ph type="body" sz="quarter" idx="133" hasCustomPrompt="1"/>
          </p:nvPr>
        </p:nvSpPr>
        <p:spPr bwMode="auto">
          <a:xfrm>
            <a:off x="6115770" y="206075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65</a:t>
            </a:r>
            <a:r>
              <a:rPr lang="en-US"/>
              <a:t>%</a:t>
            </a:r>
            <a:endParaRPr lang="ru-RU"/>
          </a:p>
        </p:txBody>
      </p:sp>
      <p:sp>
        <p:nvSpPr>
          <p:cNvPr id="451917149" name="Text Placeholder 14"/>
          <p:cNvSpPr>
            <a:spLocks noGrp="1"/>
          </p:cNvSpPr>
          <p:nvPr>
            <p:ph type="body" sz="quarter" idx="134" hasCustomPrompt="1"/>
          </p:nvPr>
        </p:nvSpPr>
        <p:spPr bwMode="auto">
          <a:xfrm>
            <a:off x="6115770" y="239310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Услуги мобильной связи и интернета</a:t>
            </a:r>
            <a:endParaRPr/>
          </a:p>
        </p:txBody>
      </p:sp>
      <p:sp>
        <p:nvSpPr>
          <p:cNvPr id="1640568229" name="Text Placeholder 4"/>
          <p:cNvSpPr>
            <a:spLocks noGrp="1"/>
          </p:cNvSpPr>
          <p:nvPr>
            <p:ph type="body" sz="quarter" idx="135" hasCustomPrompt="1"/>
          </p:nvPr>
        </p:nvSpPr>
        <p:spPr bwMode="auto">
          <a:xfrm>
            <a:off x="7667936" y="2069937"/>
            <a:ext cx="183942" cy="18395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322132109" name="Text Placeholder 14"/>
          <p:cNvSpPr>
            <a:spLocks noGrp="1"/>
          </p:cNvSpPr>
          <p:nvPr>
            <p:ph type="body" sz="quarter" idx="136" hasCustomPrompt="1"/>
          </p:nvPr>
        </p:nvSpPr>
        <p:spPr bwMode="auto">
          <a:xfrm>
            <a:off x="8472557" y="206075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4</a:t>
            </a:r>
            <a:r>
              <a:rPr lang="en-US"/>
              <a:t>%</a:t>
            </a:r>
            <a:endParaRPr lang="ru-RU"/>
          </a:p>
        </p:txBody>
      </p:sp>
      <p:sp>
        <p:nvSpPr>
          <p:cNvPr id="1139783751" name="Text Placeholder 14"/>
          <p:cNvSpPr>
            <a:spLocks noGrp="1"/>
          </p:cNvSpPr>
          <p:nvPr>
            <p:ph type="body" sz="quarter" idx="137" hasCustomPrompt="1"/>
          </p:nvPr>
        </p:nvSpPr>
        <p:spPr bwMode="auto">
          <a:xfrm>
            <a:off x="8472557" y="239310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Услуги мобильной связи и интернета</a:t>
            </a:r>
            <a:endParaRPr/>
          </a:p>
        </p:txBody>
      </p:sp>
      <p:sp>
        <p:nvSpPr>
          <p:cNvPr id="23778629" name="Text Placeholder 4"/>
          <p:cNvSpPr>
            <a:spLocks noGrp="1"/>
          </p:cNvSpPr>
          <p:nvPr>
            <p:ph type="body" sz="quarter" idx="138" hasCustomPrompt="1"/>
          </p:nvPr>
        </p:nvSpPr>
        <p:spPr bwMode="auto">
          <a:xfrm>
            <a:off x="10020232" y="2069937"/>
            <a:ext cx="183942" cy="183952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343397020" name="Straight Connector 217"/>
          <p:cNvCxnSpPr/>
          <p:nvPr/>
        </p:nvCxnSpPr>
        <p:spPr bwMode="auto">
          <a:xfrm>
            <a:off x="6096000" y="845405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540297" name="Straight Connector 218"/>
          <p:cNvCxnSpPr/>
          <p:nvPr/>
        </p:nvCxnSpPr>
        <p:spPr bwMode="auto">
          <a:xfrm>
            <a:off x="8461523" y="845405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4233755" name="Straight Connector 219"/>
          <p:cNvCxnSpPr/>
          <p:nvPr/>
        </p:nvCxnSpPr>
        <p:spPr bwMode="auto">
          <a:xfrm>
            <a:off x="8461523" y="19372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1591308" name="Straight Connector 220"/>
          <p:cNvCxnSpPr/>
          <p:nvPr/>
        </p:nvCxnSpPr>
        <p:spPr bwMode="auto">
          <a:xfrm>
            <a:off x="6096000" y="19372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акциденция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526375458" name="Group 2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719208758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84617666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546397448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03126" y="-74158"/>
            <a:ext cx="6777859" cy="700054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/>
                <a:ea typeface="MTS Text Medium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874306805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90407" y="714342"/>
            <a:ext cx="4127718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6 млн</a:t>
            </a:r>
            <a:endParaRPr/>
          </a:p>
        </p:txBody>
      </p:sp>
      <p:sp>
        <p:nvSpPr>
          <p:cNvPr id="836978067" name="Text Placeholder 14"/>
          <p:cNvSpPr>
            <a:spLocks noGrp="1"/>
          </p:cNvSpPr>
          <p:nvPr>
            <p:ph type="body" sz="quarter" idx="39" hasCustomPrompt="1"/>
          </p:nvPr>
        </p:nvSpPr>
        <p:spPr bwMode="auto">
          <a:xfrm>
            <a:off x="204025" y="1796588"/>
            <a:ext cx="4689800" cy="16324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новых пользователей присоединилось к нашим сервисами за 2022 год</a:t>
            </a:r>
            <a:endParaRPr/>
          </a:p>
        </p:txBody>
      </p:sp>
      <p:sp>
        <p:nvSpPr>
          <p:cNvPr id="2058080716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5684729" y="6526972"/>
            <a:ext cx="2334360" cy="20658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FontTx/>
              <a:buNone/>
              <a:defRPr sz="13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Данные</a:t>
            </a:r>
            <a:endParaRPr/>
          </a:p>
        </p:txBody>
      </p:sp>
      <p:sp>
        <p:nvSpPr>
          <p:cNvPr id="1191779557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092129634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Диаграмм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21735453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987474217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2105361964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6096000" y="761669"/>
            <a:ext cx="5905593" cy="5815547"/>
          </a:xfrm>
          <a:prstGeom prst="rect">
            <a:avLst/>
          </a:prstGeom>
        </p:spPr>
        <p:txBody>
          <a:bodyPr anchor="t"/>
          <a:lstStyle>
            <a:lvl1pPr marL="0" indent="0" algn="ctr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 marL="0" marR="0" lvl="0" indent="0" algn="ctr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2005193159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257488504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390957820" name="Title 16"/>
          <p:cNvSpPr>
            <a:spLocks noGrp="1"/>
          </p:cNvSpPr>
          <p:nvPr>
            <p:ph type="title"/>
          </p:nvPr>
        </p:nvSpPr>
        <p:spPr bwMode="auto">
          <a:xfrm>
            <a:off x="190407" y="784080"/>
            <a:ext cx="4703418" cy="1796630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grpSp>
        <p:nvGrpSpPr>
          <p:cNvPr id="562648089" name="Group 2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660789012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6787567" y="2630363"/>
            <a:ext cx="4522459" cy="207815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МТС</a:t>
            </a:r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Кольцевая диаграмм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53659279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6096000" y="761669"/>
            <a:ext cx="5905593" cy="5815547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210960827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127250351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895594940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669112308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778824825" name="Group 2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832100566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Более 70% населения Москвы пользуются услугами МТС.</a:t>
            </a:r>
            <a:endParaRPr/>
          </a:p>
        </p:txBody>
      </p:sp>
      <p:sp>
        <p:nvSpPr>
          <p:cNvPr id="300342732" name="Text Placeholder 7"/>
          <p:cNvSpPr>
            <a:spLocks noGrp="1"/>
          </p:cNvSpPr>
          <p:nvPr>
            <p:ph type="body" sz="quarter" idx="40" hasCustomPrompt="1"/>
          </p:nvPr>
        </p:nvSpPr>
        <p:spPr bwMode="auto">
          <a:xfrm>
            <a:off x="6254871" y="875364"/>
            <a:ext cx="5587849" cy="558815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918909009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6787567" y="2630363"/>
            <a:ext cx="4522459" cy="207815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buFontTx/>
              <a:buNone/>
              <a:defRPr sz="77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МТС</a:t>
            </a:r>
            <a:endParaRPr/>
          </a:p>
        </p:txBody>
      </p:sp>
      <p:sp>
        <p:nvSpPr>
          <p:cNvPr id="793862577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осква и Московская область</a:t>
            </a:r>
            <a:endParaRPr/>
          </a:p>
        </p:txBody>
      </p:sp>
      <p:sp>
        <p:nvSpPr>
          <p:cNvPr id="1527065623" name="Text Placeholder 4"/>
          <p:cNvSpPr>
            <a:spLocks noGrp="1"/>
          </p:cNvSpPr>
          <p:nvPr>
            <p:ph type="body" sz="quarter" idx="129" hasCustomPrompt="1"/>
          </p:nvPr>
        </p:nvSpPr>
        <p:spPr bwMode="auto">
          <a:xfrm>
            <a:off x="1762343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316217396" name="Text Placeholder 4"/>
          <p:cNvSpPr>
            <a:spLocks noGrp="1"/>
          </p:cNvSpPr>
          <p:nvPr>
            <p:ph type="body" sz="quarter" idx="132" hasCustomPrompt="1"/>
          </p:nvPr>
        </p:nvSpPr>
        <p:spPr bwMode="auto">
          <a:xfrm>
            <a:off x="4137170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lgDash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1913780168" name="Straight Connector 14"/>
          <p:cNvCxnSpPr/>
          <p:nvPr/>
        </p:nvCxnSpPr>
        <p:spPr bwMode="auto"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578393" name="Straight Connector 15"/>
          <p:cNvCxnSpPr/>
          <p:nvPr/>
        </p:nvCxnSpPr>
        <p:spPr bwMode="auto">
          <a:xfrm>
            <a:off x="2538827" y="2499560"/>
            <a:ext cx="177855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136908" name="Text Placeholder 4"/>
          <p:cNvSpPr>
            <a:spLocks noGrp="1"/>
          </p:cNvSpPr>
          <p:nvPr>
            <p:ph type="body" sz="quarter" idx="141" hasCustomPrompt="1"/>
          </p:nvPr>
        </p:nvSpPr>
        <p:spPr bwMode="auto">
          <a:xfrm>
            <a:off x="1762343" y="379615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dash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37868050" name="Text Placeholder 4"/>
          <p:cNvSpPr>
            <a:spLocks noGrp="1"/>
          </p:cNvSpPr>
          <p:nvPr>
            <p:ph type="body" sz="quarter" idx="142" hasCustomPrompt="1"/>
          </p:nvPr>
        </p:nvSpPr>
        <p:spPr bwMode="auto">
          <a:xfrm>
            <a:off x="4137170" y="3796155"/>
            <a:ext cx="183942" cy="183952"/>
          </a:xfrm>
          <a:prstGeom prst="ellipse">
            <a:avLst/>
          </a:prstGeom>
          <a:noFill/>
          <a:ln w="25400">
            <a:solidFill>
              <a:schemeClr val="bg1">
                <a:lumMod val="75000"/>
              </a:schemeClr>
            </a:solidFill>
            <a:prstDash val="solid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1277313665" name="Straight Connector 28"/>
          <p:cNvCxnSpPr/>
          <p:nvPr/>
        </p:nvCxnSpPr>
        <p:spPr bwMode="auto">
          <a:xfrm>
            <a:off x="190407" y="3620139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5289061" name="Straight Connector 29"/>
          <p:cNvCxnSpPr/>
          <p:nvPr/>
        </p:nvCxnSpPr>
        <p:spPr bwMode="auto">
          <a:xfrm>
            <a:off x="2538827" y="3620139"/>
            <a:ext cx="177855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0155068" name="Text Placeholder 4"/>
          <p:cNvSpPr>
            <a:spLocks noGrp="1"/>
          </p:cNvSpPr>
          <p:nvPr>
            <p:ph type="body" sz="quarter" idx="144" hasCustomPrompt="1"/>
          </p:nvPr>
        </p:nvSpPr>
        <p:spPr bwMode="auto">
          <a:xfrm>
            <a:off x="8955311" y="717794"/>
            <a:ext cx="183942" cy="18395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39213793" name="Text Placeholder 4"/>
          <p:cNvSpPr>
            <a:spLocks noGrp="1"/>
          </p:cNvSpPr>
          <p:nvPr>
            <p:ph type="body" sz="quarter" idx="145" hasCustomPrompt="1"/>
          </p:nvPr>
        </p:nvSpPr>
        <p:spPr bwMode="auto">
          <a:xfrm>
            <a:off x="6478557" y="2156466"/>
            <a:ext cx="183942" cy="18395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546096066" name="Text Placeholder 4"/>
          <p:cNvSpPr>
            <a:spLocks noGrp="1"/>
          </p:cNvSpPr>
          <p:nvPr>
            <p:ph type="body" sz="quarter" idx="146" hasCustomPrompt="1"/>
          </p:nvPr>
        </p:nvSpPr>
        <p:spPr bwMode="auto">
          <a:xfrm>
            <a:off x="8362077" y="6353829"/>
            <a:ext cx="183942" cy="18395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475740317" name="Text Placeholder 14"/>
          <p:cNvSpPr>
            <a:spLocks noGrp="1"/>
          </p:cNvSpPr>
          <p:nvPr>
            <p:ph type="body" sz="quarter" idx="128" hasCustomPrompt="1"/>
          </p:nvPr>
        </p:nvSpPr>
        <p:spPr bwMode="auto"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50</a:t>
            </a:r>
            <a:r>
              <a:rPr lang="en-US"/>
              <a:t>%</a:t>
            </a:r>
            <a:endParaRPr lang="ru-RU"/>
          </a:p>
        </p:txBody>
      </p:sp>
      <p:sp>
        <p:nvSpPr>
          <p:cNvPr id="1560503227" name="Text Placeholder 14"/>
          <p:cNvSpPr>
            <a:spLocks noGrp="1"/>
          </p:cNvSpPr>
          <p:nvPr>
            <p:ph type="body" sz="quarter" idx="147" hasCustomPrompt="1"/>
          </p:nvPr>
        </p:nvSpPr>
        <p:spPr bwMode="auto"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Регионы</a:t>
            </a:r>
            <a:endParaRPr/>
          </a:p>
        </p:txBody>
      </p:sp>
      <p:sp>
        <p:nvSpPr>
          <p:cNvPr id="222418486" name="Text Placeholder 14"/>
          <p:cNvSpPr>
            <a:spLocks noGrp="1"/>
          </p:cNvSpPr>
          <p:nvPr>
            <p:ph type="body" sz="quarter" idx="148" hasCustomPrompt="1"/>
          </p:nvPr>
        </p:nvSpPr>
        <p:spPr bwMode="auto"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25</a:t>
            </a:r>
            <a:r>
              <a:rPr lang="en-US"/>
              <a:t>%</a:t>
            </a:r>
            <a:endParaRPr lang="ru-RU"/>
          </a:p>
        </p:txBody>
      </p:sp>
      <p:sp>
        <p:nvSpPr>
          <p:cNvPr id="286647318" name="Text Placeholder 14"/>
          <p:cNvSpPr>
            <a:spLocks noGrp="1"/>
          </p:cNvSpPr>
          <p:nvPr>
            <p:ph type="body" sz="quarter" idx="149" hasCustomPrompt="1"/>
          </p:nvPr>
        </p:nvSpPr>
        <p:spPr bwMode="auto"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Ленобласть</a:t>
            </a:r>
            <a:endParaRPr/>
          </a:p>
        </p:txBody>
      </p:sp>
      <p:sp>
        <p:nvSpPr>
          <p:cNvPr id="1938544268" name="Text Placeholder 14"/>
          <p:cNvSpPr>
            <a:spLocks noGrp="1"/>
          </p:cNvSpPr>
          <p:nvPr>
            <p:ph type="body" sz="quarter" idx="150" hasCustomPrompt="1"/>
          </p:nvPr>
        </p:nvSpPr>
        <p:spPr bwMode="auto"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50</a:t>
            </a:r>
            <a:r>
              <a:rPr lang="en-US"/>
              <a:t>%</a:t>
            </a:r>
            <a:endParaRPr lang="ru-RU"/>
          </a:p>
        </p:txBody>
      </p:sp>
      <p:sp>
        <p:nvSpPr>
          <p:cNvPr id="201294887" name="Text Placeholder 14"/>
          <p:cNvSpPr>
            <a:spLocks noGrp="1"/>
          </p:cNvSpPr>
          <p:nvPr>
            <p:ph type="body" sz="quarter" idx="151" hasCustomPrompt="1"/>
          </p:nvPr>
        </p:nvSpPr>
        <p:spPr bwMode="auto"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56295192" name="Text Placeholder 14"/>
          <p:cNvSpPr>
            <a:spLocks noGrp="1"/>
          </p:cNvSpPr>
          <p:nvPr>
            <p:ph type="body" sz="quarter" idx="152" hasCustomPrompt="1"/>
          </p:nvPr>
        </p:nvSpPr>
        <p:spPr bwMode="auto"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25</a:t>
            </a:r>
            <a:r>
              <a:rPr lang="en-US"/>
              <a:t>%</a:t>
            </a:r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Кольцевая диаграмма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96742161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6096000" y="761668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00" b="0" i="0">
                <a:solidFill>
                  <a:schemeClr val="bg2">
                    <a:lumMod val="9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45133582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097503068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912144260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934953249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72716082" name="Group 2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467418129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Более 70% населения Москвы пользуются услугами МТС.</a:t>
            </a:r>
            <a:endParaRPr/>
          </a:p>
        </p:txBody>
      </p:sp>
      <p:sp>
        <p:nvSpPr>
          <p:cNvPr id="1260871173" name="Text Placeholder 7"/>
          <p:cNvSpPr>
            <a:spLocks noGrp="1"/>
          </p:cNvSpPr>
          <p:nvPr>
            <p:ph type="body" sz="quarter" idx="40" hasCustomPrompt="1"/>
          </p:nvPr>
        </p:nvSpPr>
        <p:spPr bwMode="auto">
          <a:xfrm>
            <a:off x="6233457" y="876589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160338317" name="Text Placeholder 28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6670776" y="1797615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0" b="0" i="0" cap="all"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ru-RU"/>
              <a:t>МТС</a:t>
            </a:r>
            <a:endParaRPr/>
          </a:p>
        </p:txBody>
      </p:sp>
      <p:sp>
        <p:nvSpPr>
          <p:cNvPr id="181325585" name="Text Placeholder 4"/>
          <p:cNvSpPr>
            <a:spLocks noGrp="1"/>
          </p:cNvSpPr>
          <p:nvPr>
            <p:ph type="body" sz="quarter" idx="144" hasCustomPrompt="1"/>
          </p:nvPr>
        </p:nvSpPr>
        <p:spPr bwMode="auto">
          <a:xfrm>
            <a:off x="7508627" y="785770"/>
            <a:ext cx="121196" cy="12120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377169849" name="Text Placeholder 4"/>
          <p:cNvSpPr>
            <a:spLocks noGrp="1"/>
          </p:cNvSpPr>
          <p:nvPr>
            <p:ph type="body" sz="quarter" idx="145" hasCustomPrompt="1"/>
          </p:nvPr>
        </p:nvSpPr>
        <p:spPr bwMode="auto">
          <a:xfrm>
            <a:off x="6128472" y="2121063"/>
            <a:ext cx="121196" cy="12120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02505481" name="Text Placeholder 4"/>
          <p:cNvSpPr>
            <a:spLocks noGrp="1"/>
          </p:cNvSpPr>
          <p:nvPr>
            <p:ph type="body" sz="quarter" idx="146" hasCustomPrompt="1"/>
          </p:nvPr>
        </p:nvSpPr>
        <p:spPr bwMode="auto">
          <a:xfrm>
            <a:off x="8875945" y="2332913"/>
            <a:ext cx="121196" cy="12120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83684655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осква и Московская область</a:t>
            </a:r>
            <a:endParaRPr/>
          </a:p>
        </p:txBody>
      </p:sp>
      <p:sp>
        <p:nvSpPr>
          <p:cNvPr id="204851420" name="Text Placeholder 4"/>
          <p:cNvSpPr>
            <a:spLocks noGrp="1"/>
          </p:cNvSpPr>
          <p:nvPr>
            <p:ph type="body" sz="quarter" idx="129" hasCustomPrompt="1"/>
          </p:nvPr>
        </p:nvSpPr>
        <p:spPr bwMode="auto">
          <a:xfrm>
            <a:off x="1762343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94243540" name="Text Placeholder 4"/>
          <p:cNvSpPr>
            <a:spLocks noGrp="1"/>
          </p:cNvSpPr>
          <p:nvPr>
            <p:ph type="body" sz="quarter" idx="132" hasCustomPrompt="1"/>
          </p:nvPr>
        </p:nvSpPr>
        <p:spPr bwMode="auto">
          <a:xfrm>
            <a:off x="4137170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lgDash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539455313" name="Straight Connector 35"/>
          <p:cNvCxnSpPr/>
          <p:nvPr/>
        </p:nvCxnSpPr>
        <p:spPr bwMode="auto"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17227" name="Straight Connector 36"/>
          <p:cNvCxnSpPr/>
          <p:nvPr/>
        </p:nvCxnSpPr>
        <p:spPr bwMode="auto"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471940" name="Text Placeholder 4"/>
          <p:cNvSpPr>
            <a:spLocks noGrp="1"/>
          </p:cNvSpPr>
          <p:nvPr>
            <p:ph type="body" sz="quarter" idx="141" hasCustomPrompt="1"/>
          </p:nvPr>
        </p:nvSpPr>
        <p:spPr bwMode="auto">
          <a:xfrm>
            <a:off x="1762343" y="379615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dash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717572555" name="Text Placeholder 4"/>
          <p:cNvSpPr>
            <a:spLocks noGrp="1"/>
          </p:cNvSpPr>
          <p:nvPr>
            <p:ph type="body" sz="quarter" idx="142" hasCustomPrompt="1"/>
          </p:nvPr>
        </p:nvSpPr>
        <p:spPr bwMode="auto">
          <a:xfrm>
            <a:off x="4137170" y="3796155"/>
            <a:ext cx="183942" cy="183952"/>
          </a:xfrm>
          <a:prstGeom prst="ellipse">
            <a:avLst/>
          </a:prstGeom>
          <a:noFill/>
          <a:ln w="25400">
            <a:solidFill>
              <a:schemeClr val="bg1">
                <a:lumMod val="75000"/>
              </a:schemeClr>
            </a:solidFill>
            <a:prstDash val="solid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1785316045" name="Straight Connector 39"/>
          <p:cNvCxnSpPr/>
          <p:nvPr/>
        </p:nvCxnSpPr>
        <p:spPr bwMode="auto">
          <a:xfrm>
            <a:off x="190407" y="3620139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3945628" name="Straight Connector 40"/>
          <p:cNvCxnSpPr/>
          <p:nvPr/>
        </p:nvCxnSpPr>
        <p:spPr bwMode="auto">
          <a:xfrm>
            <a:off x="2555930" y="3620139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8886707" name="Text Placeholder 14"/>
          <p:cNvSpPr>
            <a:spLocks noGrp="1"/>
          </p:cNvSpPr>
          <p:nvPr>
            <p:ph type="body" sz="quarter" idx="128" hasCustomPrompt="1"/>
          </p:nvPr>
        </p:nvSpPr>
        <p:spPr bwMode="auto"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50</a:t>
            </a:r>
            <a:r>
              <a:rPr lang="en-US"/>
              <a:t>%</a:t>
            </a:r>
            <a:endParaRPr lang="ru-RU"/>
          </a:p>
        </p:txBody>
      </p:sp>
      <p:sp>
        <p:nvSpPr>
          <p:cNvPr id="969815936" name="Text Placeholder 14"/>
          <p:cNvSpPr>
            <a:spLocks noGrp="1"/>
          </p:cNvSpPr>
          <p:nvPr>
            <p:ph type="body" sz="quarter" idx="147" hasCustomPrompt="1"/>
          </p:nvPr>
        </p:nvSpPr>
        <p:spPr bwMode="auto"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Регионы</a:t>
            </a:r>
            <a:endParaRPr/>
          </a:p>
        </p:txBody>
      </p:sp>
      <p:sp>
        <p:nvSpPr>
          <p:cNvPr id="1875352193" name="Text Placeholder 14"/>
          <p:cNvSpPr>
            <a:spLocks noGrp="1"/>
          </p:cNvSpPr>
          <p:nvPr>
            <p:ph type="body" sz="quarter" idx="148" hasCustomPrompt="1"/>
          </p:nvPr>
        </p:nvSpPr>
        <p:spPr bwMode="auto"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25</a:t>
            </a:r>
            <a:r>
              <a:rPr lang="en-US"/>
              <a:t>%</a:t>
            </a:r>
            <a:endParaRPr lang="ru-RU"/>
          </a:p>
        </p:txBody>
      </p:sp>
      <p:sp>
        <p:nvSpPr>
          <p:cNvPr id="1053350208" name="Text Placeholder 14"/>
          <p:cNvSpPr>
            <a:spLocks noGrp="1"/>
          </p:cNvSpPr>
          <p:nvPr>
            <p:ph type="body" sz="quarter" idx="149" hasCustomPrompt="1"/>
          </p:nvPr>
        </p:nvSpPr>
        <p:spPr bwMode="auto"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Ленобласть</a:t>
            </a:r>
            <a:endParaRPr/>
          </a:p>
        </p:txBody>
      </p:sp>
      <p:sp>
        <p:nvSpPr>
          <p:cNvPr id="266899541" name="Text Placeholder 14"/>
          <p:cNvSpPr>
            <a:spLocks noGrp="1"/>
          </p:cNvSpPr>
          <p:nvPr>
            <p:ph type="body" sz="quarter" idx="150" hasCustomPrompt="1"/>
          </p:nvPr>
        </p:nvSpPr>
        <p:spPr bwMode="auto"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50</a:t>
            </a:r>
            <a:r>
              <a:rPr lang="en-US"/>
              <a:t>%</a:t>
            </a:r>
            <a:endParaRPr lang="ru-RU"/>
          </a:p>
        </p:txBody>
      </p:sp>
      <p:sp>
        <p:nvSpPr>
          <p:cNvPr id="1745243717" name="Text Placeholder 14"/>
          <p:cNvSpPr>
            <a:spLocks noGrp="1"/>
          </p:cNvSpPr>
          <p:nvPr>
            <p:ph type="body" sz="quarter" idx="151" hasCustomPrompt="1"/>
          </p:nvPr>
        </p:nvSpPr>
        <p:spPr bwMode="auto"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609870101" name="Text Placeholder 14"/>
          <p:cNvSpPr>
            <a:spLocks noGrp="1"/>
          </p:cNvSpPr>
          <p:nvPr>
            <p:ph type="body" sz="quarter" idx="152" hasCustomPrompt="1"/>
          </p:nvPr>
        </p:nvSpPr>
        <p:spPr bwMode="auto"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25</a:t>
            </a:r>
            <a:r>
              <a:rPr lang="en-US"/>
              <a:t>%</a:t>
            </a:r>
            <a:endParaRPr lang="ru-RU"/>
          </a:p>
        </p:txBody>
      </p:sp>
      <p:sp>
        <p:nvSpPr>
          <p:cNvPr id="777274430" name="Chart Placeholder 10"/>
          <p:cNvSpPr>
            <a:spLocks noGrp="1"/>
          </p:cNvSpPr>
          <p:nvPr>
            <p:ph type="chart" sz="quarter" idx="153" hasCustomPrompt="1"/>
          </p:nvPr>
        </p:nvSpPr>
        <p:spPr bwMode="auto">
          <a:xfrm>
            <a:off x="6096000" y="3803220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00" b="0" i="0">
                <a:solidFill>
                  <a:schemeClr val="bg2">
                    <a:lumMod val="9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1507728905" name="Text Placeholder 7"/>
          <p:cNvSpPr>
            <a:spLocks noGrp="1"/>
          </p:cNvSpPr>
          <p:nvPr>
            <p:ph type="body" sz="quarter" idx="154" hasCustomPrompt="1"/>
          </p:nvPr>
        </p:nvSpPr>
        <p:spPr bwMode="auto">
          <a:xfrm>
            <a:off x="6233457" y="3918141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762020452" name="Text Placeholder 28"/>
          <p:cNvSpPr>
            <a:spLocks noGrp="1"/>
          </p:cNvSpPr>
          <p:nvPr>
            <p:ph type="body" sz="quarter" idx="155" hasCustomPrompt="1"/>
          </p:nvPr>
        </p:nvSpPr>
        <p:spPr bwMode="auto">
          <a:xfrm>
            <a:off x="6670776" y="4839167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0" b="0" i="0" cap="all">
                <a:solidFill>
                  <a:schemeClr val="accent2"/>
                </a:solidFill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en-US"/>
              <a:t>KION</a:t>
            </a:r>
            <a:endParaRPr/>
          </a:p>
        </p:txBody>
      </p:sp>
      <p:sp>
        <p:nvSpPr>
          <p:cNvPr id="1896492796" name="Text Placeholder 4"/>
          <p:cNvSpPr>
            <a:spLocks noGrp="1"/>
          </p:cNvSpPr>
          <p:nvPr>
            <p:ph type="body" sz="quarter" idx="156" hasCustomPrompt="1"/>
          </p:nvPr>
        </p:nvSpPr>
        <p:spPr bwMode="auto">
          <a:xfrm>
            <a:off x="7508627" y="3827322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798531820" name="Text Placeholder 4"/>
          <p:cNvSpPr>
            <a:spLocks noGrp="1"/>
          </p:cNvSpPr>
          <p:nvPr>
            <p:ph type="body" sz="quarter" idx="157" hasCustomPrompt="1"/>
          </p:nvPr>
        </p:nvSpPr>
        <p:spPr bwMode="auto">
          <a:xfrm>
            <a:off x="6128472" y="5162615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650646487" name="Text Placeholder 4"/>
          <p:cNvSpPr>
            <a:spLocks noGrp="1"/>
          </p:cNvSpPr>
          <p:nvPr>
            <p:ph type="body" sz="quarter" idx="158" hasCustomPrompt="1"/>
          </p:nvPr>
        </p:nvSpPr>
        <p:spPr bwMode="auto">
          <a:xfrm>
            <a:off x="8875945" y="5374465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704091629" name="Chart Placeholder 10"/>
          <p:cNvSpPr>
            <a:spLocks noGrp="1"/>
          </p:cNvSpPr>
          <p:nvPr>
            <p:ph type="chart" sz="quarter" idx="159" hasCustomPrompt="1"/>
          </p:nvPr>
        </p:nvSpPr>
        <p:spPr bwMode="auto">
          <a:xfrm>
            <a:off x="9106665" y="761668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00" b="0" i="0">
                <a:solidFill>
                  <a:schemeClr val="bg2">
                    <a:lumMod val="9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1885163967" name="Text Placeholder 7"/>
          <p:cNvSpPr>
            <a:spLocks noGrp="1"/>
          </p:cNvSpPr>
          <p:nvPr>
            <p:ph type="body" sz="quarter" idx="160" hasCustomPrompt="1"/>
          </p:nvPr>
        </p:nvSpPr>
        <p:spPr bwMode="auto">
          <a:xfrm>
            <a:off x="9244122" y="876589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14024460" name="Text Placeholder 28"/>
          <p:cNvSpPr>
            <a:spLocks noGrp="1"/>
          </p:cNvSpPr>
          <p:nvPr>
            <p:ph type="body" sz="quarter" idx="161" hasCustomPrompt="1"/>
          </p:nvPr>
        </p:nvSpPr>
        <p:spPr bwMode="auto">
          <a:xfrm>
            <a:off x="9681441" y="1797615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0" b="0" i="0" cap="none">
                <a:solidFill>
                  <a:schemeClr val="accent1"/>
                </a:solidFill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en-US"/>
              <a:t>Telecom</a:t>
            </a:r>
            <a:endParaRPr/>
          </a:p>
        </p:txBody>
      </p:sp>
      <p:sp>
        <p:nvSpPr>
          <p:cNvPr id="988863323" name="Text Placeholder 4"/>
          <p:cNvSpPr>
            <a:spLocks noGrp="1"/>
          </p:cNvSpPr>
          <p:nvPr>
            <p:ph type="body" sz="quarter" idx="162" hasCustomPrompt="1"/>
          </p:nvPr>
        </p:nvSpPr>
        <p:spPr bwMode="auto">
          <a:xfrm>
            <a:off x="10519292" y="785770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335119704" name="Text Placeholder 4"/>
          <p:cNvSpPr>
            <a:spLocks noGrp="1"/>
          </p:cNvSpPr>
          <p:nvPr>
            <p:ph type="body" sz="quarter" idx="163" hasCustomPrompt="1"/>
          </p:nvPr>
        </p:nvSpPr>
        <p:spPr bwMode="auto">
          <a:xfrm>
            <a:off x="9139137" y="2121063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56355523" name="Text Placeholder 4"/>
          <p:cNvSpPr>
            <a:spLocks noGrp="1"/>
          </p:cNvSpPr>
          <p:nvPr>
            <p:ph type="body" sz="quarter" idx="164" hasCustomPrompt="1"/>
          </p:nvPr>
        </p:nvSpPr>
        <p:spPr bwMode="auto">
          <a:xfrm>
            <a:off x="11886610" y="2332913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14274941" name="Chart Placeholder 10"/>
          <p:cNvSpPr>
            <a:spLocks noGrp="1"/>
          </p:cNvSpPr>
          <p:nvPr>
            <p:ph type="chart" sz="quarter" idx="165" hasCustomPrompt="1"/>
          </p:nvPr>
        </p:nvSpPr>
        <p:spPr bwMode="auto">
          <a:xfrm>
            <a:off x="9106665" y="3803220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00" b="0" i="0">
                <a:solidFill>
                  <a:schemeClr val="bg2">
                    <a:lumMod val="9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211654411" name="Text Placeholder 7"/>
          <p:cNvSpPr>
            <a:spLocks noGrp="1"/>
          </p:cNvSpPr>
          <p:nvPr>
            <p:ph type="body" sz="quarter" idx="166" hasCustomPrompt="1"/>
          </p:nvPr>
        </p:nvSpPr>
        <p:spPr bwMode="auto">
          <a:xfrm>
            <a:off x="9244122" y="3918141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054595474" name="Text Placeholder 28"/>
          <p:cNvSpPr>
            <a:spLocks noGrp="1"/>
          </p:cNvSpPr>
          <p:nvPr>
            <p:ph type="body" sz="quarter" idx="167" hasCustomPrompt="1"/>
          </p:nvPr>
        </p:nvSpPr>
        <p:spPr bwMode="auto">
          <a:xfrm>
            <a:off x="9681441" y="4839167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0" b="0" i="0" cap="none">
                <a:solidFill>
                  <a:schemeClr val="accent4"/>
                </a:solidFill>
                <a:latin typeface="MTS Wide Medium"/>
                <a:ea typeface="MTS Wide Medium"/>
              </a:defRPr>
            </a:lvl1pPr>
            <a:lvl2pPr marL="483763" indent="0">
              <a:buFontTx/>
              <a:buNone/>
              <a:defRPr sz="7750" b="0" i="0">
                <a:latin typeface="MTS Wide Medium"/>
                <a:ea typeface="MTS Wide Medium"/>
              </a:defRPr>
            </a:lvl2pPr>
            <a:lvl3pPr marL="967525" indent="0">
              <a:buFontTx/>
              <a:buNone/>
              <a:defRPr sz="7750" b="0" i="0">
                <a:latin typeface="MTS Wide Medium"/>
                <a:ea typeface="MTS Wide Medium"/>
              </a:defRPr>
            </a:lvl3pPr>
            <a:lvl4pPr marL="1451289" indent="0">
              <a:buFontTx/>
              <a:buNone/>
              <a:defRPr sz="7750" b="0" i="0">
                <a:latin typeface="MTS Wide Medium"/>
                <a:ea typeface="MTS Wide Medium"/>
              </a:defRPr>
            </a:lvl4pPr>
            <a:lvl5pPr marL="1935052" indent="0">
              <a:buFontTx/>
              <a:buNone/>
              <a:defRPr sz="7750" b="0" i="0">
                <a:latin typeface="MTS Wide Medium"/>
                <a:ea typeface="MTS Wide Medium"/>
              </a:defRPr>
            </a:lvl5pPr>
          </a:lstStyle>
          <a:p>
            <a:pPr lvl="0">
              <a:defRPr/>
            </a:pPr>
            <a:r>
              <a:rPr lang="en-US"/>
              <a:t>Telecom</a:t>
            </a:r>
            <a:endParaRPr/>
          </a:p>
        </p:txBody>
      </p:sp>
      <p:sp>
        <p:nvSpPr>
          <p:cNvPr id="154769064" name="Text Placeholder 4"/>
          <p:cNvSpPr>
            <a:spLocks noGrp="1"/>
          </p:cNvSpPr>
          <p:nvPr>
            <p:ph type="body" sz="quarter" idx="168" hasCustomPrompt="1"/>
          </p:nvPr>
        </p:nvSpPr>
        <p:spPr bwMode="auto">
          <a:xfrm>
            <a:off x="10519292" y="3827322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24365776" name="Text Placeholder 4"/>
          <p:cNvSpPr>
            <a:spLocks noGrp="1"/>
          </p:cNvSpPr>
          <p:nvPr>
            <p:ph type="body" sz="quarter" idx="169" hasCustomPrompt="1"/>
          </p:nvPr>
        </p:nvSpPr>
        <p:spPr bwMode="auto">
          <a:xfrm>
            <a:off x="9139137" y="5162615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1485596" name="Text Placeholder 4"/>
          <p:cNvSpPr>
            <a:spLocks noGrp="1"/>
          </p:cNvSpPr>
          <p:nvPr>
            <p:ph type="body" sz="quarter" idx="170" hasCustomPrompt="1"/>
          </p:nvPr>
        </p:nvSpPr>
        <p:spPr bwMode="auto">
          <a:xfrm>
            <a:off x="11886610" y="5374465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График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99381870" name="Chart Placeholder 10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6096000" y="761669"/>
            <a:ext cx="5905593" cy="581554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График</a:t>
            </a:r>
            <a:endParaRPr/>
          </a:p>
        </p:txBody>
      </p:sp>
      <p:sp>
        <p:nvSpPr>
          <p:cNvPr id="666796030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153714674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56362297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898112880" name="Text Placeholder 5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grpSp>
        <p:nvGrpSpPr>
          <p:cNvPr id="1066063421" name="Group 21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768901810" name="Title 25"/>
          <p:cNvSpPr>
            <a:spLocks noGrp="1"/>
          </p:cNvSpPr>
          <p:nvPr>
            <p:ph type="title" hasCustomPrompt="1"/>
          </p:nvPr>
        </p:nvSpPr>
        <p:spPr bwMode="auto"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0" b="0" i="0" spc="71">
                <a:solidFill>
                  <a:schemeClr val="tx1"/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r>
              <a:rPr lang="ru-RU"/>
              <a:t>Более 70% населения Москвы пользуются услугами МТС.</a:t>
            </a:r>
            <a:endParaRPr/>
          </a:p>
        </p:txBody>
      </p:sp>
      <p:sp>
        <p:nvSpPr>
          <p:cNvPr id="2011443058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осква и Московская область</a:t>
            </a:r>
            <a:endParaRPr/>
          </a:p>
        </p:txBody>
      </p:sp>
      <p:sp>
        <p:nvSpPr>
          <p:cNvPr id="1173474409" name="Text Placeholder 4"/>
          <p:cNvSpPr>
            <a:spLocks noGrp="1"/>
          </p:cNvSpPr>
          <p:nvPr>
            <p:ph type="body" sz="quarter" idx="129" hasCustomPrompt="1"/>
          </p:nvPr>
        </p:nvSpPr>
        <p:spPr bwMode="auto">
          <a:xfrm>
            <a:off x="1762343" y="2675575"/>
            <a:ext cx="183942" cy="18395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893260321" name="Text Placeholder 4"/>
          <p:cNvSpPr>
            <a:spLocks noGrp="1"/>
          </p:cNvSpPr>
          <p:nvPr>
            <p:ph type="body" sz="quarter" idx="132" hasCustomPrompt="1"/>
          </p:nvPr>
        </p:nvSpPr>
        <p:spPr bwMode="auto">
          <a:xfrm>
            <a:off x="4137170" y="2675575"/>
            <a:ext cx="183942" cy="18395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noFill/>
            <a:prstDash val="lgDash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1894354527" name="Straight Connector 14"/>
          <p:cNvCxnSpPr/>
          <p:nvPr/>
        </p:nvCxnSpPr>
        <p:spPr bwMode="auto"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2857834" name="Straight Connector 15"/>
          <p:cNvCxnSpPr/>
          <p:nvPr/>
        </p:nvCxnSpPr>
        <p:spPr bwMode="auto"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7341622" name="Text Placeholder 4"/>
          <p:cNvSpPr>
            <a:spLocks noGrp="1"/>
          </p:cNvSpPr>
          <p:nvPr>
            <p:ph type="body" sz="quarter" idx="141" hasCustomPrompt="1"/>
          </p:nvPr>
        </p:nvSpPr>
        <p:spPr bwMode="auto">
          <a:xfrm>
            <a:off x="1762343" y="3796155"/>
            <a:ext cx="183942" cy="18395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>
            <a:noFill/>
            <a:prstDash val="dash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55776833" name="Text Placeholder 4"/>
          <p:cNvSpPr>
            <a:spLocks noGrp="1"/>
          </p:cNvSpPr>
          <p:nvPr>
            <p:ph type="body" sz="quarter" idx="142" hasCustomPrompt="1"/>
          </p:nvPr>
        </p:nvSpPr>
        <p:spPr bwMode="auto">
          <a:xfrm>
            <a:off x="4137170" y="3796155"/>
            <a:ext cx="183942" cy="18395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  <a:prstDash val="solid"/>
          </a:ln>
        </p:spPr>
        <p:txBody>
          <a:bodyPr/>
          <a:lstStyle/>
          <a:p>
            <a:pPr lvl="0">
              <a:defRPr/>
            </a:pPr>
            <a:r>
              <a:rPr lang="ru-RU"/>
              <a:t> </a:t>
            </a:r>
            <a:endParaRPr/>
          </a:p>
        </p:txBody>
      </p:sp>
      <p:cxnSp>
        <p:nvCxnSpPr>
          <p:cNvPr id="1855542226" name="Straight Connector 28"/>
          <p:cNvCxnSpPr/>
          <p:nvPr/>
        </p:nvCxnSpPr>
        <p:spPr bwMode="auto">
          <a:xfrm>
            <a:off x="190407" y="3620139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4610360" name="Straight Connector 29"/>
          <p:cNvCxnSpPr/>
          <p:nvPr/>
        </p:nvCxnSpPr>
        <p:spPr bwMode="auto">
          <a:xfrm>
            <a:off x="2555930" y="3620139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8505966" name="Text Placeholder 14"/>
          <p:cNvSpPr>
            <a:spLocks noGrp="1"/>
          </p:cNvSpPr>
          <p:nvPr>
            <p:ph type="body" sz="quarter" idx="128" hasCustomPrompt="1"/>
          </p:nvPr>
        </p:nvSpPr>
        <p:spPr bwMode="auto"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50</a:t>
            </a:r>
            <a:r>
              <a:rPr lang="en-US"/>
              <a:t>%</a:t>
            </a:r>
            <a:endParaRPr lang="ru-RU"/>
          </a:p>
        </p:txBody>
      </p:sp>
      <p:sp>
        <p:nvSpPr>
          <p:cNvPr id="1496081374" name="Text Placeholder 14"/>
          <p:cNvSpPr>
            <a:spLocks noGrp="1"/>
          </p:cNvSpPr>
          <p:nvPr>
            <p:ph type="body" sz="quarter" idx="147" hasCustomPrompt="1"/>
          </p:nvPr>
        </p:nvSpPr>
        <p:spPr bwMode="auto"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Регионы</a:t>
            </a:r>
            <a:endParaRPr/>
          </a:p>
        </p:txBody>
      </p:sp>
      <p:sp>
        <p:nvSpPr>
          <p:cNvPr id="1445898362" name="Text Placeholder 14"/>
          <p:cNvSpPr>
            <a:spLocks noGrp="1"/>
          </p:cNvSpPr>
          <p:nvPr>
            <p:ph type="body" sz="quarter" idx="148" hasCustomPrompt="1"/>
          </p:nvPr>
        </p:nvSpPr>
        <p:spPr bwMode="auto"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25</a:t>
            </a:r>
            <a:r>
              <a:rPr lang="en-US"/>
              <a:t>%</a:t>
            </a:r>
            <a:endParaRPr lang="ru-RU"/>
          </a:p>
        </p:txBody>
      </p:sp>
      <p:sp>
        <p:nvSpPr>
          <p:cNvPr id="316277714" name="Text Placeholder 14"/>
          <p:cNvSpPr>
            <a:spLocks noGrp="1"/>
          </p:cNvSpPr>
          <p:nvPr>
            <p:ph type="body" sz="quarter" idx="149" hasCustomPrompt="1"/>
          </p:nvPr>
        </p:nvSpPr>
        <p:spPr bwMode="auto"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Ленобласть</a:t>
            </a:r>
            <a:endParaRPr/>
          </a:p>
        </p:txBody>
      </p:sp>
      <p:sp>
        <p:nvSpPr>
          <p:cNvPr id="349486166" name="Text Placeholder 14"/>
          <p:cNvSpPr>
            <a:spLocks noGrp="1"/>
          </p:cNvSpPr>
          <p:nvPr>
            <p:ph type="body" sz="quarter" idx="150" hasCustomPrompt="1"/>
          </p:nvPr>
        </p:nvSpPr>
        <p:spPr bwMode="auto"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50</a:t>
            </a:r>
            <a:r>
              <a:rPr lang="en-US"/>
              <a:t>%</a:t>
            </a:r>
            <a:endParaRPr lang="ru-RU"/>
          </a:p>
        </p:txBody>
      </p:sp>
      <p:sp>
        <p:nvSpPr>
          <p:cNvPr id="1774496588" name="Text Placeholder 14"/>
          <p:cNvSpPr>
            <a:spLocks noGrp="1"/>
          </p:cNvSpPr>
          <p:nvPr>
            <p:ph type="body" sz="quarter" idx="151" hasCustomPrompt="1"/>
          </p:nvPr>
        </p:nvSpPr>
        <p:spPr bwMode="auto"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Домашние сервисы</a:t>
            </a:r>
            <a:endParaRPr/>
          </a:p>
        </p:txBody>
      </p:sp>
      <p:sp>
        <p:nvSpPr>
          <p:cNvPr id="1385907356" name="Text Placeholder 14"/>
          <p:cNvSpPr>
            <a:spLocks noGrp="1"/>
          </p:cNvSpPr>
          <p:nvPr>
            <p:ph type="body" sz="quarter" idx="152" hasCustomPrompt="1"/>
          </p:nvPr>
        </p:nvSpPr>
        <p:spPr bwMode="auto"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235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rtl="0">
              <a:defRPr/>
            </a:pPr>
            <a:r>
              <a:rPr lang="ru-RU"/>
              <a:t>25</a:t>
            </a:r>
            <a:r>
              <a:rPr lang="en-US"/>
              <a:t>%</a:t>
            </a:r>
            <a:endParaRPr lang="ru-RU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Roadmap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47501220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Roadmap</a:t>
            </a:r>
            <a:endParaRPr/>
          </a:p>
        </p:txBody>
      </p:sp>
      <p:sp>
        <p:nvSpPr>
          <p:cNvPr id="157548359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770112359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grpSp>
        <p:nvGrpSpPr>
          <p:cNvPr id="1230505740" name="Group 6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687575223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938084705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644115587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554923909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70579691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691254318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2063794719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699623937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259489168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2035099280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53515429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602007540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410679239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833541519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6032523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602012812" name="Text Placeholder 14"/>
          <p:cNvSpPr>
            <a:spLocks noGrp="1"/>
          </p:cNvSpPr>
          <p:nvPr>
            <p:ph type="body" sz="quarter" idx="54" hasCustomPrompt="1"/>
          </p:nvPr>
        </p:nvSpPr>
        <p:spPr bwMode="auto">
          <a:xfrm>
            <a:off x="8449576" y="5426930"/>
            <a:ext cx="2963624" cy="917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 2024 году планируем выйти </a:t>
            </a:r>
            <a:br>
              <a:rPr lang="ru-RU"/>
            </a:br>
            <a:r>
              <a:rPr lang="ru-RU"/>
              <a:t>на рынок Азии и повысить </a:t>
            </a:r>
            <a:r>
              <a:rPr lang="en-GB"/>
              <a:t>KPI </a:t>
            </a:r>
            <a:r>
              <a:rPr lang="ru-RU"/>
              <a:t/>
            </a:r>
            <a:br>
              <a:rPr lang="ru-RU"/>
            </a:br>
            <a:r>
              <a:rPr lang="ru-RU"/>
              <a:t>на 30%.</a:t>
            </a:r>
            <a:endParaRPr/>
          </a:p>
        </p:txBody>
      </p:sp>
      <p:sp>
        <p:nvSpPr>
          <p:cNvPr id="56121198" name="Text Placeholder 36"/>
          <p:cNvSpPr>
            <a:spLocks noGrp="1"/>
          </p:cNvSpPr>
          <p:nvPr>
            <p:ph type="body" sz="quarter" idx="55" hasCustomPrompt="1"/>
          </p:nvPr>
        </p:nvSpPr>
        <p:spPr bwMode="auto">
          <a:xfrm>
            <a:off x="294519" y="2921221"/>
            <a:ext cx="1023715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19</a:t>
            </a:r>
            <a:endParaRPr/>
          </a:p>
        </p:txBody>
      </p:sp>
      <p:sp>
        <p:nvSpPr>
          <p:cNvPr id="919297980" name="Text Placeholder 36"/>
          <p:cNvSpPr>
            <a:spLocks noGrp="1"/>
          </p:cNvSpPr>
          <p:nvPr>
            <p:ph type="body" sz="quarter" idx="57" hasCustomPrompt="1"/>
          </p:nvPr>
        </p:nvSpPr>
        <p:spPr bwMode="auto">
          <a:xfrm>
            <a:off x="2290109" y="2921221"/>
            <a:ext cx="1023715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0</a:t>
            </a:r>
            <a:endParaRPr/>
          </a:p>
        </p:txBody>
      </p:sp>
      <p:sp>
        <p:nvSpPr>
          <p:cNvPr id="161354186" name="Text Placeholder 36"/>
          <p:cNvSpPr>
            <a:spLocks noGrp="1"/>
          </p:cNvSpPr>
          <p:nvPr>
            <p:ph type="body" sz="quarter" idx="58" hasCustomPrompt="1"/>
          </p:nvPr>
        </p:nvSpPr>
        <p:spPr bwMode="auto">
          <a:xfrm>
            <a:off x="4270338" y="2921221"/>
            <a:ext cx="1023715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1</a:t>
            </a:r>
            <a:endParaRPr/>
          </a:p>
        </p:txBody>
      </p:sp>
      <p:sp>
        <p:nvSpPr>
          <p:cNvPr id="705076077" name="Text Placeholder 36"/>
          <p:cNvSpPr>
            <a:spLocks noGrp="1"/>
          </p:cNvSpPr>
          <p:nvPr>
            <p:ph type="body" sz="quarter" idx="59" hasCustomPrompt="1"/>
          </p:nvPr>
        </p:nvSpPr>
        <p:spPr bwMode="auto">
          <a:xfrm>
            <a:off x="6250566" y="2921221"/>
            <a:ext cx="1023715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2</a:t>
            </a:r>
            <a:endParaRPr/>
          </a:p>
        </p:txBody>
      </p:sp>
      <p:sp>
        <p:nvSpPr>
          <p:cNvPr id="298246112" name="Text Placeholder 36"/>
          <p:cNvSpPr>
            <a:spLocks noGrp="1"/>
          </p:cNvSpPr>
          <p:nvPr>
            <p:ph type="body" sz="quarter" idx="60" hasCustomPrompt="1"/>
          </p:nvPr>
        </p:nvSpPr>
        <p:spPr bwMode="auto">
          <a:xfrm>
            <a:off x="8230795" y="2921221"/>
            <a:ext cx="1023715" cy="1023772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3</a:t>
            </a:r>
            <a:endParaRPr/>
          </a:p>
        </p:txBody>
      </p:sp>
      <p:sp>
        <p:nvSpPr>
          <p:cNvPr id="1097837264" name="Text Placeholder 36"/>
          <p:cNvSpPr>
            <a:spLocks noGrp="1"/>
          </p:cNvSpPr>
          <p:nvPr>
            <p:ph type="body" sz="quarter" idx="61" hasCustomPrompt="1"/>
          </p:nvPr>
        </p:nvSpPr>
        <p:spPr bwMode="auto">
          <a:xfrm>
            <a:off x="10211024" y="2921221"/>
            <a:ext cx="1023715" cy="1023772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4</a:t>
            </a:r>
            <a:endParaRPr/>
          </a:p>
        </p:txBody>
      </p:sp>
      <p:sp>
        <p:nvSpPr>
          <p:cNvPr id="679574443" name="Freeform 50"/>
          <p:cNvSpPr/>
          <p:nvPr/>
        </p:nvSpPr>
        <p:spPr bwMode="auto">
          <a:xfrm>
            <a:off x="190407" y="2835595"/>
            <a:ext cx="12036580" cy="1194774"/>
          </a:xfrm>
          <a:custGeom>
            <a:avLst/>
            <a:gdLst>
              <a:gd name="connsiteX0" fmla="*/ 0 w 25590270"/>
              <a:gd name="connsiteY0" fmla="*/ 1269999 h 2540000"/>
              <a:gd name="connsiteX1" fmla="*/ 0 w 25590270"/>
              <a:gd name="connsiteY1" fmla="*/ 1270000 h 2540000"/>
              <a:gd name="connsiteX2" fmla="*/ 0 w 25590270"/>
              <a:gd name="connsiteY2" fmla="*/ 1270000 h 2540000"/>
              <a:gd name="connsiteX3" fmla="*/ 1269999 w 25590270"/>
              <a:gd name="connsiteY3" fmla="*/ 0 h 2540000"/>
              <a:gd name="connsiteX4" fmla="*/ 25590270 w 25590270"/>
              <a:gd name="connsiteY4" fmla="*/ 0 h 2540000"/>
              <a:gd name="connsiteX5" fmla="*/ 25590270 w 25590270"/>
              <a:gd name="connsiteY5" fmla="*/ 2540000 h 2540000"/>
              <a:gd name="connsiteX6" fmla="*/ 1269999 w 25590270"/>
              <a:gd name="connsiteY6" fmla="*/ 2539999 h 2540000"/>
              <a:gd name="connsiteX7" fmla="*/ 25801 w 25590270"/>
              <a:gd name="connsiteY7" fmla="*/ 1525949 h 2540000"/>
              <a:gd name="connsiteX8" fmla="*/ 0 w 25590270"/>
              <a:gd name="connsiteY8" fmla="*/ 1270000 h 2540000"/>
              <a:gd name="connsiteX9" fmla="*/ 25801 w 25590270"/>
              <a:gd name="connsiteY9" fmla="*/ 1014051 h 2540000"/>
              <a:gd name="connsiteX10" fmla="*/ 1269999 w 25590270"/>
              <a:gd name="connsiteY10" fmla="*/ 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590270" h="2540000" extrusionOk="0">
                <a:moveTo>
                  <a:pt x="0" y="1269999"/>
                </a:moveTo>
                <a:lnTo>
                  <a:pt x="0" y="1270000"/>
                </a:lnTo>
                <a:lnTo>
                  <a:pt x="0" y="1270000"/>
                </a:lnTo>
                <a:close/>
                <a:moveTo>
                  <a:pt x="1269999" y="0"/>
                </a:moveTo>
                <a:lnTo>
                  <a:pt x="25590270" y="0"/>
                </a:lnTo>
                <a:lnTo>
                  <a:pt x="25590270" y="2540000"/>
                </a:lnTo>
                <a:lnTo>
                  <a:pt x="1269999" y="2539999"/>
                </a:lnTo>
                <a:cubicBezTo>
                  <a:pt x="656273" y="2539999"/>
                  <a:pt x="144224" y="2104666"/>
                  <a:pt x="25801" y="1525949"/>
                </a:cubicBezTo>
                <a:lnTo>
                  <a:pt x="0" y="1270000"/>
                </a:lnTo>
                <a:lnTo>
                  <a:pt x="25801" y="1014051"/>
                </a:lnTo>
                <a:cubicBezTo>
                  <a:pt x="144224" y="435333"/>
                  <a:pt x="656273" y="0"/>
                  <a:pt x="1269999" y="0"/>
                </a:cubicBezTo>
                <a:close/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sz="650"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445701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grpSp>
        <p:nvGrpSpPr>
          <p:cNvPr id="798420436" name="Group 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874281153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cxnSp>
        <p:nvCxnSpPr>
          <p:cNvPr id="948547595" name="Straight Connector 5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2274297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789168538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718119843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139551167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752091138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28501306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383990227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9605914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26230160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.3</a:t>
            </a:r>
            <a:endParaRPr/>
          </a:p>
        </p:txBody>
      </p:sp>
      <p:sp>
        <p:nvSpPr>
          <p:cNvPr id="1263650837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46568348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591935411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791746170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295819999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70016619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966027513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809071514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854141747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001498630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840929389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363155211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05856941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440275675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334595967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77955645" name="Straight Connector 70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0754677" name="Straight Connector 72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9800648" name="Straight Connector 73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6585763" name="Straight Connector 74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5175580" name="Straight Connector 75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2862971" name="Straight Connector 76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061822" name="Straight Connector 77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069262" name="Straight Connector 78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8545109" name="Text Placeholder 14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4039521" y="344670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905842340" name="Text Placeholder 14"/>
          <p:cNvSpPr>
            <a:spLocks noGrp="1"/>
          </p:cNvSpPr>
          <p:nvPr>
            <p:ph type="body" sz="quarter" idx="39" hasCustomPrompt="1"/>
          </p:nvPr>
        </p:nvSpPr>
        <p:spPr bwMode="auto">
          <a:xfrm>
            <a:off x="3132376" y="344145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r>
              <a:rPr lang="ru-RU"/>
              <a:t>.</a:t>
            </a:r>
            <a:r>
              <a:rPr lang="en-US"/>
              <a:t>2</a:t>
            </a:r>
            <a:endParaRPr/>
          </a:p>
        </p:txBody>
      </p:sp>
      <p:sp>
        <p:nvSpPr>
          <p:cNvPr id="1492556976" name="Text Placeholder 14"/>
          <p:cNvSpPr>
            <a:spLocks noGrp="1"/>
          </p:cNvSpPr>
          <p:nvPr>
            <p:ph type="body" sz="quarter" idx="40" hasCustomPrompt="1"/>
          </p:nvPr>
        </p:nvSpPr>
        <p:spPr bwMode="auto">
          <a:xfrm>
            <a:off x="3132376" y="363543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998582001" name="Title 83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главление</a:t>
            </a:r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Roadmap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21808200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Roadmap</a:t>
            </a:r>
            <a:endParaRPr/>
          </a:p>
        </p:txBody>
      </p:sp>
      <p:sp>
        <p:nvSpPr>
          <p:cNvPr id="152097274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395475284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grpSp>
        <p:nvGrpSpPr>
          <p:cNvPr id="1078447030" name="Group 6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18888228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547932035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328795263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300459018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809070851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923227710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503424676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288896655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534257646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434619507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004604150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444099783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313172063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076832674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697400096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890211233" name="Text Placeholder 14"/>
          <p:cNvSpPr>
            <a:spLocks noGrp="1"/>
          </p:cNvSpPr>
          <p:nvPr>
            <p:ph type="body" sz="quarter" idx="54" hasCustomPrompt="1"/>
          </p:nvPr>
        </p:nvSpPr>
        <p:spPr bwMode="auto">
          <a:xfrm>
            <a:off x="8449576" y="5426930"/>
            <a:ext cx="2963624" cy="917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 2024 году планируем выйти </a:t>
            </a:r>
            <a:br>
              <a:rPr lang="ru-RU"/>
            </a:br>
            <a:r>
              <a:rPr lang="ru-RU"/>
              <a:t>на рынок Азии и повысить </a:t>
            </a:r>
            <a:r>
              <a:rPr lang="en-GB"/>
              <a:t>KPI </a:t>
            </a:r>
            <a:r>
              <a:rPr lang="ru-RU"/>
              <a:t/>
            </a:r>
            <a:br>
              <a:rPr lang="ru-RU"/>
            </a:br>
            <a:r>
              <a:rPr lang="ru-RU"/>
              <a:t>на 30%.</a:t>
            </a:r>
            <a:endParaRPr/>
          </a:p>
        </p:txBody>
      </p:sp>
      <p:sp>
        <p:nvSpPr>
          <p:cNvPr id="1540151424" name="Text Placeholder 36"/>
          <p:cNvSpPr>
            <a:spLocks noGrp="1"/>
          </p:cNvSpPr>
          <p:nvPr>
            <p:ph type="body" sz="quarter" idx="55" hasCustomPrompt="1"/>
          </p:nvPr>
        </p:nvSpPr>
        <p:spPr bwMode="auto">
          <a:xfrm>
            <a:off x="294519" y="2921221"/>
            <a:ext cx="1023715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19</a:t>
            </a:r>
            <a:endParaRPr/>
          </a:p>
        </p:txBody>
      </p:sp>
      <p:sp>
        <p:nvSpPr>
          <p:cNvPr id="692388485" name="Text Placeholder 36"/>
          <p:cNvSpPr>
            <a:spLocks noGrp="1"/>
          </p:cNvSpPr>
          <p:nvPr>
            <p:ph type="body" sz="quarter" idx="57" hasCustomPrompt="1"/>
          </p:nvPr>
        </p:nvSpPr>
        <p:spPr bwMode="auto">
          <a:xfrm>
            <a:off x="2290109" y="2921221"/>
            <a:ext cx="1023715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0</a:t>
            </a:r>
            <a:endParaRPr/>
          </a:p>
        </p:txBody>
      </p:sp>
      <p:sp>
        <p:nvSpPr>
          <p:cNvPr id="986505254" name="Text Placeholder 36"/>
          <p:cNvSpPr>
            <a:spLocks noGrp="1"/>
          </p:cNvSpPr>
          <p:nvPr>
            <p:ph type="body" sz="quarter" idx="58" hasCustomPrompt="1"/>
          </p:nvPr>
        </p:nvSpPr>
        <p:spPr bwMode="auto">
          <a:xfrm>
            <a:off x="4270338" y="2921221"/>
            <a:ext cx="1023715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1</a:t>
            </a:r>
            <a:endParaRPr/>
          </a:p>
        </p:txBody>
      </p:sp>
      <p:sp>
        <p:nvSpPr>
          <p:cNvPr id="315675309" name="Text Placeholder 36"/>
          <p:cNvSpPr>
            <a:spLocks noGrp="1"/>
          </p:cNvSpPr>
          <p:nvPr>
            <p:ph type="body" sz="quarter" idx="59" hasCustomPrompt="1"/>
          </p:nvPr>
        </p:nvSpPr>
        <p:spPr bwMode="auto">
          <a:xfrm>
            <a:off x="6250566" y="2921221"/>
            <a:ext cx="1023715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2</a:t>
            </a:r>
            <a:endParaRPr/>
          </a:p>
        </p:txBody>
      </p:sp>
      <p:sp>
        <p:nvSpPr>
          <p:cNvPr id="1837174912" name="Text Placeholder 36"/>
          <p:cNvSpPr>
            <a:spLocks noGrp="1"/>
          </p:cNvSpPr>
          <p:nvPr>
            <p:ph type="body" sz="quarter" idx="60" hasCustomPrompt="1"/>
          </p:nvPr>
        </p:nvSpPr>
        <p:spPr bwMode="auto">
          <a:xfrm>
            <a:off x="8230795" y="2921221"/>
            <a:ext cx="1023715" cy="1023772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3</a:t>
            </a:r>
            <a:endParaRPr/>
          </a:p>
        </p:txBody>
      </p:sp>
      <p:sp>
        <p:nvSpPr>
          <p:cNvPr id="394588295" name="Text Placeholder 36"/>
          <p:cNvSpPr>
            <a:spLocks noGrp="1"/>
          </p:cNvSpPr>
          <p:nvPr>
            <p:ph type="body" sz="quarter" idx="61" hasCustomPrompt="1"/>
          </p:nvPr>
        </p:nvSpPr>
        <p:spPr bwMode="auto">
          <a:xfrm>
            <a:off x="10211024" y="2921221"/>
            <a:ext cx="1023715" cy="1023772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4</a:t>
            </a:r>
            <a:endParaRPr/>
          </a:p>
        </p:txBody>
      </p:sp>
      <p:sp>
        <p:nvSpPr>
          <p:cNvPr id="657217728" name="Freeform 5"/>
          <p:cNvSpPr/>
          <p:nvPr/>
        </p:nvSpPr>
        <p:spPr bwMode="auto">
          <a:xfrm>
            <a:off x="-46081" y="2835595"/>
            <a:ext cx="12273068" cy="1194774"/>
          </a:xfrm>
          <a:custGeom>
            <a:avLst/>
            <a:gdLst>
              <a:gd name="connsiteX0" fmla="*/ 0 w 26093055"/>
              <a:gd name="connsiteY0" fmla="*/ 0 h 2540000"/>
              <a:gd name="connsiteX1" fmla="*/ 26093055 w 26093055"/>
              <a:gd name="connsiteY1" fmla="*/ 0 h 2540000"/>
              <a:gd name="connsiteX2" fmla="*/ 26093055 w 26093055"/>
              <a:gd name="connsiteY2" fmla="*/ 2540000 h 2540000"/>
              <a:gd name="connsiteX3" fmla="*/ 0 w 26093055"/>
              <a:gd name="connsiteY3" fmla="*/ 2539999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93055" h="2540000" extrusionOk="0">
                <a:moveTo>
                  <a:pt x="0" y="0"/>
                </a:moveTo>
                <a:lnTo>
                  <a:pt x="26093055" y="0"/>
                </a:lnTo>
                <a:lnTo>
                  <a:pt x="26093055" y="2540000"/>
                </a:lnTo>
                <a:lnTo>
                  <a:pt x="0" y="2539999"/>
                </a:lnTo>
                <a:close/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sz="650"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Roadmap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7791088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Roadmap</a:t>
            </a:r>
            <a:endParaRPr/>
          </a:p>
        </p:txBody>
      </p:sp>
      <p:sp>
        <p:nvSpPr>
          <p:cNvPr id="891524135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58359894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grpSp>
        <p:nvGrpSpPr>
          <p:cNvPr id="947993211" name="Group 6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876762853" name="Text Placeholder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1644973889" name="Text Placeholder 5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89112808" name="Text Placeholder 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0" b="0" i="0" spc="33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Место под сноску </a:t>
            </a:r>
            <a:br>
              <a:rPr lang="ru-RU"/>
            </a:br>
            <a:r>
              <a:rPr lang="ru-RU"/>
              <a:t>или под источник</a:t>
            </a:r>
            <a:endParaRPr/>
          </a:p>
        </p:txBody>
      </p:sp>
      <p:sp>
        <p:nvSpPr>
          <p:cNvPr id="425347424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174544360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230906805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012892209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506802588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213654373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868529757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433676199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138459721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613248911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331504795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Шаг 1</a:t>
            </a:r>
            <a:endParaRPr/>
          </a:p>
        </p:txBody>
      </p:sp>
      <p:sp>
        <p:nvSpPr>
          <p:cNvPr id="1461176151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10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  <a:latin typeface="MTS Text"/>
              </a:rPr>
              <a:t>Количество пользователей, присоединившихся в этом году в сервисву </a:t>
            </a:r>
            <a:r>
              <a:rPr lang="en-GB">
                <a:solidFill>
                  <a:srgbClr val="000000"/>
                </a:solidFill>
                <a:latin typeface="MTS Text"/>
              </a:rPr>
              <a:t>KION.</a:t>
            </a:r>
            <a:endParaRPr/>
          </a:p>
        </p:txBody>
      </p:sp>
      <p:sp>
        <p:nvSpPr>
          <p:cNvPr id="1533374901" name="Text Placeholder 14"/>
          <p:cNvSpPr>
            <a:spLocks noGrp="1"/>
          </p:cNvSpPr>
          <p:nvPr>
            <p:ph type="body" sz="quarter" idx="54" hasCustomPrompt="1"/>
          </p:nvPr>
        </p:nvSpPr>
        <p:spPr bwMode="auto">
          <a:xfrm>
            <a:off x="8449576" y="5426930"/>
            <a:ext cx="2963624" cy="917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00" b="0" i="0" spc="47">
                <a:solidFill>
                  <a:schemeClr val="tx1"/>
                </a:solidFill>
                <a:latin typeface="MTS Text Medium"/>
                <a:ea typeface="MTS Text Medium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К 2024 году планируем выйти </a:t>
            </a:r>
            <a:br>
              <a:rPr lang="ru-RU"/>
            </a:br>
            <a:r>
              <a:rPr lang="ru-RU"/>
              <a:t>на рынок Азии и повысить </a:t>
            </a:r>
            <a:r>
              <a:rPr lang="en-GB"/>
              <a:t>KPI </a:t>
            </a:r>
            <a:r>
              <a:rPr lang="ru-RU"/>
              <a:t/>
            </a:r>
            <a:br>
              <a:rPr lang="ru-RU"/>
            </a:br>
            <a:r>
              <a:rPr lang="ru-RU"/>
              <a:t>на 30%.</a:t>
            </a:r>
            <a:endParaRPr/>
          </a:p>
        </p:txBody>
      </p:sp>
      <p:sp>
        <p:nvSpPr>
          <p:cNvPr id="1395777953" name="Text Placeholder 36"/>
          <p:cNvSpPr>
            <a:spLocks noGrp="1"/>
          </p:cNvSpPr>
          <p:nvPr>
            <p:ph type="body" sz="quarter" idx="55" hasCustomPrompt="1"/>
          </p:nvPr>
        </p:nvSpPr>
        <p:spPr bwMode="auto">
          <a:xfrm>
            <a:off x="294519" y="2921221"/>
            <a:ext cx="1023715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19</a:t>
            </a:r>
            <a:endParaRPr/>
          </a:p>
        </p:txBody>
      </p:sp>
      <p:sp>
        <p:nvSpPr>
          <p:cNvPr id="1690809874" name="Text Placeholder 36"/>
          <p:cNvSpPr>
            <a:spLocks noGrp="1"/>
          </p:cNvSpPr>
          <p:nvPr>
            <p:ph type="body" sz="quarter" idx="57" hasCustomPrompt="1"/>
          </p:nvPr>
        </p:nvSpPr>
        <p:spPr bwMode="auto">
          <a:xfrm>
            <a:off x="2290109" y="2921221"/>
            <a:ext cx="1023715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0</a:t>
            </a:r>
            <a:endParaRPr/>
          </a:p>
        </p:txBody>
      </p:sp>
      <p:sp>
        <p:nvSpPr>
          <p:cNvPr id="606579027" name="Text Placeholder 36"/>
          <p:cNvSpPr>
            <a:spLocks noGrp="1"/>
          </p:cNvSpPr>
          <p:nvPr>
            <p:ph type="body" sz="quarter" idx="58" hasCustomPrompt="1"/>
          </p:nvPr>
        </p:nvSpPr>
        <p:spPr bwMode="auto">
          <a:xfrm>
            <a:off x="4270338" y="2921221"/>
            <a:ext cx="1023715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1</a:t>
            </a:r>
            <a:endParaRPr/>
          </a:p>
        </p:txBody>
      </p:sp>
      <p:sp>
        <p:nvSpPr>
          <p:cNvPr id="1911912842" name="Text Placeholder 36"/>
          <p:cNvSpPr>
            <a:spLocks noGrp="1"/>
          </p:cNvSpPr>
          <p:nvPr>
            <p:ph type="body" sz="quarter" idx="59" hasCustomPrompt="1"/>
          </p:nvPr>
        </p:nvSpPr>
        <p:spPr bwMode="auto">
          <a:xfrm>
            <a:off x="6250566" y="2921221"/>
            <a:ext cx="1023715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2</a:t>
            </a:r>
            <a:endParaRPr/>
          </a:p>
        </p:txBody>
      </p:sp>
      <p:sp>
        <p:nvSpPr>
          <p:cNvPr id="1592033672" name="Text Placeholder 36"/>
          <p:cNvSpPr>
            <a:spLocks noGrp="1"/>
          </p:cNvSpPr>
          <p:nvPr>
            <p:ph type="body" sz="quarter" idx="60" hasCustomPrompt="1"/>
          </p:nvPr>
        </p:nvSpPr>
        <p:spPr bwMode="auto">
          <a:xfrm>
            <a:off x="8230795" y="2921221"/>
            <a:ext cx="1023715" cy="1023772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3</a:t>
            </a:r>
            <a:endParaRPr/>
          </a:p>
        </p:txBody>
      </p:sp>
      <p:sp>
        <p:nvSpPr>
          <p:cNvPr id="457794800" name="Text Placeholder 36"/>
          <p:cNvSpPr>
            <a:spLocks noGrp="1"/>
          </p:cNvSpPr>
          <p:nvPr>
            <p:ph type="body" sz="quarter" idx="61" hasCustomPrompt="1"/>
          </p:nvPr>
        </p:nvSpPr>
        <p:spPr bwMode="auto">
          <a:xfrm>
            <a:off x="10211024" y="2921221"/>
            <a:ext cx="1023715" cy="1023772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defRPr sz="1300" b="0" i="0">
                <a:latin typeface="MTS Text Medium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2024</a:t>
            </a:r>
            <a:endParaRPr/>
          </a:p>
        </p:txBody>
      </p:sp>
      <p:sp>
        <p:nvSpPr>
          <p:cNvPr id="727573002" name="Freeform 5"/>
          <p:cNvSpPr/>
          <p:nvPr/>
        </p:nvSpPr>
        <p:spPr bwMode="auto">
          <a:xfrm>
            <a:off x="-46081" y="2835595"/>
            <a:ext cx="11386745" cy="1194774"/>
          </a:xfrm>
          <a:custGeom>
            <a:avLst/>
            <a:gdLst>
              <a:gd name="connsiteX0" fmla="*/ 0 w 24208695"/>
              <a:gd name="connsiteY0" fmla="*/ 0 h 2540000"/>
              <a:gd name="connsiteX1" fmla="*/ 22938695 w 24208695"/>
              <a:gd name="connsiteY1" fmla="*/ 0 h 2540000"/>
              <a:gd name="connsiteX2" fmla="*/ 24208695 w 24208695"/>
              <a:gd name="connsiteY2" fmla="*/ 1270000 h 2540000"/>
              <a:gd name="connsiteX3" fmla="*/ 22938695 w 24208695"/>
              <a:gd name="connsiteY3" fmla="*/ 2540000 h 2540000"/>
              <a:gd name="connsiteX4" fmla="*/ 0 w 24208695"/>
              <a:gd name="connsiteY4" fmla="*/ 2539999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08695" h="2540000" extrusionOk="0">
                <a:moveTo>
                  <a:pt x="0" y="0"/>
                </a:moveTo>
                <a:lnTo>
                  <a:pt x="22938695" y="0"/>
                </a:lnTo>
                <a:cubicBezTo>
                  <a:pt x="23640099" y="0"/>
                  <a:pt x="24208695" y="568598"/>
                  <a:pt x="24208695" y="1270000"/>
                </a:cubicBezTo>
                <a:cubicBezTo>
                  <a:pt x="24208695" y="1971402"/>
                  <a:pt x="23640095" y="2540000"/>
                  <a:pt x="22938695" y="2540000"/>
                </a:cubicBezTo>
                <a:lnTo>
                  <a:pt x="0" y="2539999"/>
                </a:lnTo>
                <a:close/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sz="650"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Кар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213941472" name="Picture 17"/>
          <p:cNvPicPr>
            <a:picLocks noChangeAspect="1"/>
          </p:cNvPicPr>
          <p:nvPr/>
        </p:nvPicPr>
        <p:blipFill rotWithShape="1">
          <a:blip r:embed="rId2"/>
          <a:srcRect t="1014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33869536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428940294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080509455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1"/>
            <a:ext cx="5905593" cy="735671"/>
          </a:xfrm>
        </p:spPr>
        <p:txBody>
          <a:bodyPr/>
          <a:lstStyle/>
          <a:p>
            <a:pPr>
              <a:defRPr/>
            </a:pPr>
            <a:r>
              <a:rPr lang="ru-RU"/>
              <a:t>Карта</a:t>
            </a:r>
            <a:endParaRPr/>
          </a:p>
        </p:txBody>
      </p:sp>
      <p:grpSp>
        <p:nvGrpSpPr>
          <p:cNvPr id="1749206581" name="Group 12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4" name="Rectangle 13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1676415936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190407" y="1839131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Описание</a:t>
            </a:r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Карта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039600753" name="Picture 17"/>
          <p:cNvPicPr>
            <a:picLocks noChangeAspect="1"/>
          </p:cNvPicPr>
          <p:nvPr/>
        </p:nvPicPr>
        <p:blipFill rotWithShape="1">
          <a:blip r:embed="rId2"/>
          <a:srcRect t="1014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62340104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99261278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184494629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1"/>
            <a:ext cx="5905593" cy="735671"/>
          </a:xfrm>
        </p:spPr>
        <p:txBody>
          <a:bodyPr/>
          <a:lstStyle/>
          <a:p>
            <a:pPr>
              <a:defRPr/>
            </a:pPr>
            <a:r>
              <a:rPr lang="ru-RU"/>
              <a:t>Карта</a:t>
            </a:r>
            <a:endParaRPr/>
          </a:p>
        </p:txBody>
      </p:sp>
      <p:grpSp>
        <p:nvGrpSpPr>
          <p:cNvPr id="1577233520" name="Group 12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4" name="Rectangle 13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2107113059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190407" y="1839131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Описание</a:t>
            </a:r>
            <a:endParaRPr/>
          </a:p>
        </p:txBody>
      </p:sp>
      <p:sp>
        <p:nvSpPr>
          <p:cNvPr id="1170156158" name="Text Placeholder 8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3963446" y="1304544"/>
            <a:ext cx="2394644" cy="1534537"/>
          </a:xfrm>
          <a:prstGeom prst="rect">
            <a:avLst/>
          </a:prstGeom>
          <a:solidFill>
            <a:srgbClr val="2B2B2B"/>
          </a:solidFill>
        </p:spPr>
        <p:txBody>
          <a:bodyPr lIns="360000" tIns="360000" rIns="360000">
            <a:normAutofit/>
          </a:bodyPr>
          <a:lstStyle>
            <a:lvl1pPr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1pPr>
          </a:lstStyle>
          <a:p>
            <a:pPr lvl="0">
              <a:defRPr/>
            </a:pPr>
            <a:r>
              <a:rPr lang="ru-RU"/>
              <a:t>Текст об особенностях местности, немного фактов и информации.</a:t>
            </a:r>
            <a:endParaRPr/>
          </a:p>
        </p:txBody>
      </p:sp>
      <p:sp>
        <p:nvSpPr>
          <p:cNvPr id="632632231" name="Table Placeholder 10"/>
          <p:cNvSpPr>
            <a:spLocks noGrp="1"/>
          </p:cNvSpPr>
          <p:nvPr>
            <p:ph type="tbl" sz="quarter" idx="29" hasCustomPrompt="1"/>
          </p:nvPr>
        </p:nvSpPr>
        <p:spPr bwMode="auto">
          <a:xfrm>
            <a:off x="5149941" y="2839081"/>
            <a:ext cx="21654" cy="458494"/>
          </a:xfrm>
          <a:prstGeom prst="rect">
            <a:avLst/>
          </a:prstGeom>
          <a:solidFill>
            <a:srgbClr val="2B2B2B"/>
          </a:solidFill>
          <a:ln w="12700">
            <a:noFill/>
          </a:ln>
        </p:spPr>
        <p:txBody>
          <a:bodyPr/>
          <a:lstStyle/>
          <a:p>
            <a:pPr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451656612" name="Picture Placeholder 18"/>
          <p:cNvSpPr>
            <a:spLocks noGrp="1"/>
          </p:cNvSpPr>
          <p:nvPr>
            <p:ph type="pic" sz="quarter" idx="30" hasCustomPrompt="1"/>
          </p:nvPr>
        </p:nvSpPr>
        <p:spPr bwMode="auto">
          <a:xfrm>
            <a:off x="4160390" y="2081542"/>
            <a:ext cx="807922" cy="565277"/>
          </a:xfrm>
        </p:spPr>
        <p:txBody>
          <a:bodyPr/>
          <a:lstStyle/>
          <a:p>
            <a:pPr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275136939" name="Text Placeholder 8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6974111" y="2648664"/>
            <a:ext cx="2394644" cy="1534537"/>
          </a:xfrm>
          <a:prstGeom prst="rect">
            <a:avLst/>
          </a:prstGeom>
          <a:solidFill>
            <a:srgbClr val="2B2B2B"/>
          </a:solidFill>
        </p:spPr>
        <p:txBody>
          <a:bodyPr lIns="360000" tIns="360000" rIns="360000">
            <a:normAutofit/>
          </a:bodyPr>
          <a:lstStyle>
            <a:lvl1pPr>
              <a:defRPr sz="1000" b="0" i="0">
                <a:solidFill>
                  <a:schemeClr val="bg1"/>
                </a:solidFill>
                <a:latin typeface="MTS Text"/>
                <a:ea typeface="MTS Text"/>
              </a:defRPr>
            </a:lvl1pPr>
          </a:lstStyle>
          <a:p>
            <a:pPr lvl="0">
              <a:defRPr/>
            </a:pPr>
            <a:r>
              <a:rPr lang="ru-RU"/>
              <a:t>Текст об особенностях местности, немного фактов и информации.</a:t>
            </a:r>
            <a:endParaRPr/>
          </a:p>
        </p:txBody>
      </p:sp>
      <p:sp>
        <p:nvSpPr>
          <p:cNvPr id="816346255" name="Table Placeholder 10"/>
          <p:cNvSpPr>
            <a:spLocks noGrp="1"/>
          </p:cNvSpPr>
          <p:nvPr>
            <p:ph type="tbl" sz="quarter" idx="32" hasCustomPrompt="1"/>
          </p:nvPr>
        </p:nvSpPr>
        <p:spPr bwMode="auto">
          <a:xfrm>
            <a:off x="8160606" y="4183201"/>
            <a:ext cx="21654" cy="458494"/>
          </a:xfrm>
          <a:prstGeom prst="rect">
            <a:avLst/>
          </a:prstGeom>
          <a:solidFill>
            <a:srgbClr val="2B2B2B"/>
          </a:solidFill>
          <a:ln w="12700">
            <a:noFill/>
          </a:ln>
        </p:spPr>
        <p:txBody>
          <a:bodyPr/>
          <a:lstStyle/>
          <a:p>
            <a:pPr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955877022" name="Picture Placeholder 18"/>
          <p:cNvSpPr>
            <a:spLocks noGrp="1"/>
          </p:cNvSpPr>
          <p:nvPr>
            <p:ph type="pic" sz="quarter" idx="33" hasCustomPrompt="1"/>
          </p:nvPr>
        </p:nvSpPr>
        <p:spPr bwMode="auto">
          <a:xfrm>
            <a:off x="7171055" y="3417982"/>
            <a:ext cx="807922" cy="565277"/>
          </a:xfrm>
        </p:spPr>
        <p:txBody>
          <a:bodyPr/>
          <a:lstStyle/>
          <a:p>
            <a:pPr>
              <a:defRPr/>
            </a:pPr>
            <a:r>
              <a:rPr lang="ru-RU"/>
              <a:t> </a:t>
            </a:r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Карта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091599504" name="Picture 17"/>
          <p:cNvPicPr>
            <a:picLocks noChangeAspect="1"/>
          </p:cNvPicPr>
          <p:nvPr/>
        </p:nvPicPr>
        <p:blipFill rotWithShape="1">
          <a:blip r:embed="rId2"/>
          <a:srcRect t="1014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6881543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481261500" name="Text Placeholder 2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1000" cap="all" spc="19">
                <a:solidFill>
                  <a:schemeClr val="bg2">
                    <a:lumMod val="50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2pPr>
            <a:lvl3pPr marL="967525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3pPr>
            <a:lvl4pPr marL="1451289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4pPr>
            <a:lvl5pPr marL="1935052" indent="0">
              <a:buFontTx/>
              <a:buNone/>
              <a:defRPr sz="1000">
                <a:solidFill>
                  <a:srgbClr val="C0C0C0"/>
                </a:solidFill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РАЗДЕЛ ПРЕЗЕНТАЦИИ</a:t>
            </a:r>
            <a:endParaRPr/>
          </a:p>
          <a:p>
            <a:pPr lvl="0">
              <a:defRPr/>
            </a:pPr>
            <a:r>
              <a:rPr lang="ru-RU"/>
              <a:t>ДАЛЕЕ: СЛЕДУЮЩИЙ РАЗДЕЛ</a:t>
            </a:r>
            <a:endParaRPr/>
          </a:p>
        </p:txBody>
      </p:sp>
      <p:sp>
        <p:nvSpPr>
          <p:cNvPr id="455758232" name="Title 22"/>
          <p:cNvSpPr>
            <a:spLocks noGrp="1"/>
          </p:cNvSpPr>
          <p:nvPr>
            <p:ph type="title" hasCustomPrompt="1"/>
          </p:nvPr>
        </p:nvSpPr>
        <p:spPr bwMode="auto">
          <a:xfrm>
            <a:off x="190407" y="784081"/>
            <a:ext cx="5905593" cy="735671"/>
          </a:xfrm>
        </p:spPr>
        <p:txBody>
          <a:bodyPr/>
          <a:lstStyle/>
          <a:p>
            <a:pPr>
              <a:defRPr/>
            </a:pPr>
            <a:r>
              <a:rPr lang="ru-RU"/>
              <a:t>Карта</a:t>
            </a:r>
            <a:endParaRPr/>
          </a:p>
        </p:txBody>
      </p:sp>
      <p:grpSp>
        <p:nvGrpSpPr>
          <p:cNvPr id="1336214786" name="Group 12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4" name="Rectangle 13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sp>
        <p:nvSpPr>
          <p:cNvPr id="402138303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190407" y="1839131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0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0" marR="0" lvl="0" indent="0" algn="l" defTabSz="96752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Описание</a:t>
            </a:r>
            <a:endParaRPr/>
          </a:p>
        </p:txBody>
      </p:sp>
      <p:sp>
        <p:nvSpPr>
          <p:cNvPr id="545494851" name="Table Placeholder 10"/>
          <p:cNvSpPr>
            <a:spLocks noGrp="1"/>
          </p:cNvSpPr>
          <p:nvPr>
            <p:ph type="tbl" sz="quarter" idx="29" hasCustomPrompt="1"/>
          </p:nvPr>
        </p:nvSpPr>
        <p:spPr bwMode="auto">
          <a:xfrm>
            <a:off x="5149941" y="2839081"/>
            <a:ext cx="21654" cy="4584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/>
          <a:lstStyle/>
          <a:p>
            <a:pPr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2033663150" name="Text Placeholder 11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3737414" y="2148339"/>
            <a:ext cx="2846708" cy="100065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</p:spPr>
        <p:txBody>
          <a:bodyPr wrap="none" lIns="360000" tIns="251999" rIns="360000" bIns="251999" anchor="ctr">
            <a:spAutoFit/>
          </a:bodyPr>
          <a:lstStyle>
            <a:lvl1pPr algn="ctr">
              <a:defRPr sz="1300" b="0" i="0">
                <a:solidFill>
                  <a:schemeClr val="bg1"/>
                </a:solidFill>
                <a:latin typeface="MTS Text Medium"/>
                <a:ea typeface="MTS Text Medium"/>
              </a:defRPr>
            </a:lvl1pPr>
            <a:lvl2pPr algn="ctr">
              <a:defRPr sz="1300"/>
            </a:lvl2pPr>
            <a:lvl3pPr algn="ctr">
              <a:defRPr sz="1300"/>
            </a:lvl3pPr>
            <a:lvl4pPr algn="ctr">
              <a:defRPr sz="1300"/>
            </a:lvl4pPr>
            <a:lvl5pPr algn="ctr">
              <a:defRPr sz="1300"/>
            </a:lvl5pPr>
          </a:lstStyle>
          <a:p>
            <a:pPr lvl="0">
              <a:defRPr/>
            </a:pPr>
            <a:r>
              <a:rPr lang="ru-RU"/>
              <a:t>19 млн пользователей</a:t>
            </a:r>
            <a:endParaRPr/>
          </a:p>
        </p:txBody>
      </p:sp>
      <p:sp>
        <p:nvSpPr>
          <p:cNvPr id="1192944153" name="Table Placeholder 10"/>
          <p:cNvSpPr>
            <a:spLocks noGrp="1"/>
          </p:cNvSpPr>
          <p:nvPr>
            <p:ph type="tbl" sz="quarter" idx="35" hasCustomPrompt="1"/>
          </p:nvPr>
        </p:nvSpPr>
        <p:spPr bwMode="auto">
          <a:xfrm>
            <a:off x="6735916" y="5097203"/>
            <a:ext cx="21654" cy="4584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/>
          <a:lstStyle/>
          <a:p>
            <a:pPr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3522481" name="Text Placeholder 11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5346728" y="4406461"/>
            <a:ext cx="2800029" cy="10006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50800">
            <a:solidFill>
              <a:schemeClr val="accent6"/>
            </a:solidFill>
          </a:ln>
        </p:spPr>
        <p:txBody>
          <a:bodyPr wrap="none" lIns="360000" tIns="251999" rIns="360000" bIns="251999" anchor="ctr">
            <a:spAutoFit/>
          </a:bodyPr>
          <a:lstStyle>
            <a:lvl1pPr algn="ctr">
              <a:defRPr sz="1300" b="0" i="0">
                <a:solidFill>
                  <a:schemeClr val="accent6"/>
                </a:solidFill>
                <a:latin typeface="MTS Text Medium"/>
                <a:ea typeface="MTS Text Medium"/>
              </a:defRPr>
            </a:lvl1pPr>
            <a:lvl2pPr algn="ctr">
              <a:defRPr sz="1300"/>
            </a:lvl2pPr>
            <a:lvl3pPr algn="ctr">
              <a:defRPr sz="1300"/>
            </a:lvl3pPr>
            <a:lvl4pPr algn="ctr">
              <a:defRPr sz="1300"/>
            </a:lvl4pPr>
            <a:lvl5pPr algn="ctr">
              <a:defRPr sz="1300"/>
            </a:lvl5pPr>
          </a:lstStyle>
          <a:p>
            <a:pPr lvl="0">
              <a:defRPr/>
            </a:pPr>
            <a:r>
              <a:rPr lang="ru-RU"/>
              <a:t>6 млн пользователей</a:t>
            </a:r>
            <a:endParaRPr/>
          </a:p>
        </p:txBody>
      </p:sp>
      <p:sp>
        <p:nvSpPr>
          <p:cNvPr id="112325232" name="Table Placeholder 10"/>
          <p:cNvSpPr>
            <a:spLocks noGrp="1"/>
          </p:cNvSpPr>
          <p:nvPr>
            <p:ph type="tbl" sz="quarter" idx="37" hasCustomPrompt="1"/>
          </p:nvPr>
        </p:nvSpPr>
        <p:spPr bwMode="auto">
          <a:xfrm>
            <a:off x="9499277" y="2217447"/>
            <a:ext cx="21654" cy="4584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/>
          <a:lstStyle/>
          <a:p>
            <a:pPr>
              <a:defRPr/>
            </a:pPr>
            <a:r>
              <a:rPr lang="ru-RU"/>
              <a:t> </a:t>
            </a:r>
            <a:endParaRPr/>
          </a:p>
        </p:txBody>
      </p:sp>
      <p:sp>
        <p:nvSpPr>
          <p:cNvPr id="1889427737" name="Text Placeholder 11"/>
          <p:cNvSpPr>
            <a:spLocks noGrp="1"/>
          </p:cNvSpPr>
          <p:nvPr>
            <p:ph type="body" sz="quarter" idx="38" hasCustomPrompt="1"/>
          </p:nvPr>
        </p:nvSpPr>
        <p:spPr bwMode="auto">
          <a:xfrm>
            <a:off x="8112773" y="1526705"/>
            <a:ext cx="2794661" cy="10006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50800">
            <a:solidFill>
              <a:schemeClr val="accent6"/>
            </a:solidFill>
          </a:ln>
        </p:spPr>
        <p:txBody>
          <a:bodyPr wrap="none" lIns="360000" tIns="251999" rIns="360000" bIns="251999" anchor="ctr">
            <a:spAutoFit/>
          </a:bodyPr>
          <a:lstStyle>
            <a:lvl1pPr algn="ctr">
              <a:defRPr sz="1300" b="0" i="0">
                <a:solidFill>
                  <a:schemeClr val="accent6"/>
                </a:solidFill>
                <a:latin typeface="MTS Text Medium"/>
                <a:ea typeface="MTS Text Medium"/>
              </a:defRPr>
            </a:lvl1pPr>
            <a:lvl2pPr algn="ctr">
              <a:defRPr sz="1300"/>
            </a:lvl2pPr>
            <a:lvl3pPr algn="ctr">
              <a:defRPr sz="1300"/>
            </a:lvl3pPr>
            <a:lvl4pPr algn="ctr">
              <a:defRPr sz="1300"/>
            </a:lvl4pPr>
            <a:lvl5pPr algn="ctr">
              <a:defRPr sz="1300"/>
            </a:lvl5pPr>
          </a:lstStyle>
          <a:p>
            <a:pPr lvl="0">
              <a:defRPr/>
            </a:pPr>
            <a:r>
              <a:rPr lang="ru-RU"/>
              <a:t>2 млн пользователей</a:t>
            </a:r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Заголовок в одну строку_без доми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54096226" name="Объект 4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54096226" name="Объект 4"/>
                      <p:cNvPicPr/>
                      <p:nvPr/>
                    </p:nvPicPr>
                    <p:blipFill rotWithShape="1">
                      <a:blip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5516466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MTS Extended"/>
                <a:ea typeface="MTS Extended"/>
              </a:defRPr>
            </a:lvl1pPr>
          </a:lstStyle>
          <a:p>
            <a:pPr>
              <a:defRPr/>
            </a:pPr>
            <a:r>
              <a:rPr lang="ru-RU"/>
              <a:t>ЗАГОЛОВОК В ОДНУ СТРОКУ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033875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grpSp>
        <p:nvGrpSpPr>
          <p:cNvPr id="238292875" name="Group 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cxnSp>
        <p:nvCxnSpPr>
          <p:cNvPr id="494611747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6375074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525759822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401979848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33767214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799435704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770353326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914983147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468394507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853179805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510563923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112045498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174389592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902983204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481724058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326864710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951678502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988874612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652487876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379574680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874359560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304732477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419615595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421494093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212271388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175678724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4369366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2530609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617871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256391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7209134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7699899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154851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520815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723361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6407371" y="1318105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4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4864191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grpSp>
        <p:nvGrpSpPr>
          <p:cNvPr id="538992048" name="Group 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cxnSp>
        <p:nvCxnSpPr>
          <p:cNvPr id="364325794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5787001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416552835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852766864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588239006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213976609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339303648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643796529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301984667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307394503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84110330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782167166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46910500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841365865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307843126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870155647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22149824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827704918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141980717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074038663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795398805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38904986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367146694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698072824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024332594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227542685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6837721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3256608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0935924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0290678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468414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3553703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366580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145704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6962608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6407371" y="2661746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главление 5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30349429" name="Slide Number Placeholder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grpSp>
        <p:nvGrpSpPr>
          <p:cNvPr id="1670560504" name="Group 3"/>
          <p:cNvGrpSpPr/>
          <p:nvPr/>
        </p:nvGrpSpPr>
        <p:grpSpPr bwMode="auto"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/>
            <p:cNvSpPr/>
            <p:nvPr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850"/>
            </a:p>
          </p:txBody>
        </p:sp>
      </p:grpSp>
      <p:cxnSp>
        <p:nvCxnSpPr>
          <p:cNvPr id="1314197172" name="Straight Connector 12"/>
          <p:cNvCxnSpPr/>
          <p:nvPr/>
        </p:nvCxnSpPr>
        <p:spPr bwMode="auto"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570531" name="Text Placeholder 14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440176670" name="Text Placehold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4039521" y="278239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760640866" name="Text Placehold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4039521" y="4124467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388543515" name="Text Placeholder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432109957" name="Text Placeholder 1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011527256" name="Text Placeholder 1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172834074" name="Text Placeholder 14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02192518" name="Text Placeholder 14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827643275" name="Text Placeholder 14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tx1"/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794571389" name="Text Placeholder 14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754573819" name="Text Placeholder 14"/>
          <p:cNvSpPr>
            <a:spLocks noGrp="1"/>
          </p:cNvSpPr>
          <p:nvPr>
            <p:ph type="body" sz="quarter" idx="24" hasCustomPrompt="1"/>
          </p:nvPr>
        </p:nvSpPr>
        <p:spPr bwMode="auto"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065494290" name="Text Placeholder 14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454255793" name="Text Placeholder 14"/>
          <p:cNvSpPr>
            <a:spLocks noGrp="1"/>
          </p:cNvSpPr>
          <p:nvPr>
            <p:ph type="body" sz="quarter" idx="26" hasCustomPrompt="1"/>
          </p:nvPr>
        </p:nvSpPr>
        <p:spPr bwMode="auto"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4372225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8743231" y="278239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2043930401" name="Text Placeholder 14"/>
          <p:cNvSpPr>
            <a:spLocks noGrp="1"/>
          </p:cNvSpPr>
          <p:nvPr>
            <p:ph type="body" sz="quarter" idx="28" hasCustomPrompt="1"/>
          </p:nvPr>
        </p:nvSpPr>
        <p:spPr bwMode="auto"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742404384" name="Text Placeholder 14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Название раздела, </a:t>
            </a:r>
            <a:r>
              <a:rPr lang="en-US"/>
              <a:t/>
            </a:r>
            <a:br>
              <a:rPr lang="en-US"/>
            </a:br>
            <a:r>
              <a:rPr lang="ru-RU"/>
              <a:t>максимум две-три строки</a:t>
            </a:r>
            <a:endParaRPr/>
          </a:p>
        </p:txBody>
      </p:sp>
      <p:sp>
        <p:nvSpPr>
          <p:cNvPr id="1256795322" name="Text Placeholder 14"/>
          <p:cNvSpPr>
            <a:spLocks noGrp="1"/>
          </p:cNvSpPr>
          <p:nvPr>
            <p:ph type="body" sz="quarter" idx="30" hasCustomPrompt="1"/>
          </p:nvPr>
        </p:nvSpPr>
        <p:spPr bwMode="auto"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724017124" name="Text Placeholder 14"/>
          <p:cNvSpPr>
            <a:spLocks noGrp="1"/>
          </p:cNvSpPr>
          <p:nvPr>
            <p:ph type="body" sz="quarter" idx="31" hasCustomPrompt="1"/>
          </p:nvPr>
        </p:nvSpPr>
        <p:spPr bwMode="auto"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187838259" name="Text Placeholder 14"/>
          <p:cNvSpPr>
            <a:spLocks noGrp="1"/>
          </p:cNvSpPr>
          <p:nvPr>
            <p:ph type="body" sz="quarter" idx="32" hasCustomPrompt="1"/>
          </p:nvPr>
        </p:nvSpPr>
        <p:spPr bwMode="auto"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730346973" name="Text Placeholder 14"/>
          <p:cNvSpPr>
            <a:spLocks noGrp="1"/>
          </p:cNvSpPr>
          <p:nvPr>
            <p:ph type="body" sz="quarter" idx="33" hasCustomPrompt="1"/>
          </p:nvPr>
        </p:nvSpPr>
        <p:spPr bwMode="auto"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9484606" name="Text Placeholder 14"/>
          <p:cNvSpPr>
            <a:spLocks noGrp="1"/>
          </p:cNvSpPr>
          <p:nvPr>
            <p:ph type="body" sz="quarter" idx="34" hasCustomPrompt="1"/>
          </p:nvPr>
        </p:nvSpPr>
        <p:spPr bwMode="auto"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1978455001" name="Text Placeholder 14"/>
          <p:cNvSpPr>
            <a:spLocks noGrp="1"/>
          </p:cNvSpPr>
          <p:nvPr>
            <p:ph type="body" sz="quarter" idx="35" hasCustomPrompt="1"/>
          </p:nvPr>
        </p:nvSpPr>
        <p:spPr bwMode="auto"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sp>
        <p:nvSpPr>
          <p:cNvPr id="296287391" name="Text Placeholder 14"/>
          <p:cNvSpPr>
            <a:spLocks noGrp="1"/>
          </p:cNvSpPr>
          <p:nvPr>
            <p:ph type="body" sz="quarter" idx="36" hasCustomPrompt="1"/>
          </p:nvPr>
        </p:nvSpPr>
        <p:spPr bwMode="auto"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</a:t>
            </a:r>
            <a:endParaRPr/>
          </a:p>
        </p:txBody>
      </p:sp>
      <p:sp>
        <p:nvSpPr>
          <p:cNvPr id="298369213" name="Text Placeholder 14"/>
          <p:cNvSpPr>
            <a:spLocks noGrp="1"/>
          </p:cNvSpPr>
          <p:nvPr>
            <p:ph type="body" sz="quarter" idx="37" hasCustomPrompt="1"/>
          </p:nvPr>
        </p:nvSpPr>
        <p:spPr bwMode="auto"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00" b="0" i="0" spc="47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</a:defRPr>
            </a:lvl1pPr>
            <a:lvl2pPr marL="483763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25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89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52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en-US"/>
              <a:t>01-12</a:t>
            </a:r>
            <a:endParaRPr/>
          </a:p>
        </p:txBody>
      </p:sp>
      <p:cxnSp>
        <p:nvCxnSpPr>
          <p:cNvPr id="1690237623" name="Straight Connector 39"/>
          <p:cNvCxnSpPr/>
          <p:nvPr/>
        </p:nvCxnSpPr>
        <p:spPr bwMode="auto"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2975348" name="Straight Connector 40"/>
          <p:cNvCxnSpPr/>
          <p:nvPr/>
        </p:nvCxnSpPr>
        <p:spPr bwMode="auto"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6409753" name="Straight Connector 41"/>
          <p:cNvCxnSpPr/>
          <p:nvPr/>
        </p:nvCxnSpPr>
        <p:spPr bwMode="auto"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4579752" name="Straight Connector 42"/>
          <p:cNvCxnSpPr/>
          <p:nvPr/>
        </p:nvCxnSpPr>
        <p:spPr bwMode="auto"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4760333" name="Straight Connector 43"/>
          <p:cNvCxnSpPr/>
          <p:nvPr/>
        </p:nvCxnSpPr>
        <p:spPr bwMode="auto"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6915266" name="Straight Connector 44"/>
          <p:cNvCxnSpPr/>
          <p:nvPr/>
        </p:nvCxnSpPr>
        <p:spPr bwMode="auto"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086607" name="Straight Connector 45"/>
          <p:cNvCxnSpPr/>
          <p:nvPr/>
        </p:nvCxnSpPr>
        <p:spPr bwMode="auto"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6663855" name="Straight Connector 46"/>
          <p:cNvCxnSpPr/>
          <p:nvPr/>
        </p:nvCxnSpPr>
        <p:spPr bwMode="auto"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8109591" name="Straight Connector 47"/>
          <p:cNvCxnSpPr/>
          <p:nvPr/>
        </p:nvCxnSpPr>
        <p:spPr bwMode="auto"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7346076" name="Picture Placeholder 11"/>
          <p:cNvSpPr>
            <a:spLocks noGrp="1"/>
          </p:cNvSpPr>
          <p:nvPr>
            <p:ph type="pic" sz="quarter" idx="38"/>
          </p:nvPr>
        </p:nvSpPr>
        <p:spPr bwMode="auto">
          <a:xfrm>
            <a:off x="6407371" y="4008071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50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/>
                <a:ea typeface="MTS Text"/>
              </a:defRPr>
            </a:lvl1pPr>
          </a:lstStyle>
          <a:p>
            <a:pPr>
              <a:defRPr/>
            </a:pPr>
            <a:r>
              <a:rPr lang="ru-RU"/>
              <a:t>Вставка рисунка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902906418" name="Объект 4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oleObj" r:id="rId68" imgW="0" imgH="0" progId="TCLayout.ActiveDocument.1">
                  <p:embed/>
                </p:oleObj>
              </mc:Choice>
              <mc:Fallback>
                <p:oleObj name="oleObj" r:id="rId68" imgW="0" imgH="0" progId="TCLayout.ActiveDocument.1">
                  <p:embed/>
                  <p:pic>
                    <p:nvPicPr>
                      <p:cNvPr id="902906418" name="Объект 4"/>
                      <p:cNvPicPr/>
                      <p:nvPr/>
                    </p:nvPicPr>
                    <p:blipFill rotWithShape="1">
                      <a:blip r:embed="rId69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9256254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183988" y="148975"/>
            <a:ext cx="578386" cy="18188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sz="1000" b="0" i="0">
                <a:solidFill>
                  <a:schemeClr val="bg2">
                    <a:lumMod val="75000"/>
                  </a:schemeClr>
                </a:solidFill>
                <a:latin typeface="MTS Text"/>
                <a:ea typeface="MTS Text"/>
                <a:cs typeface="Arial Black"/>
              </a:defRPr>
            </a:lvl1pPr>
          </a:lstStyle>
          <a:p>
            <a:pPr defTabSz="430134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237467317" name="Заголовок 3"/>
          <p:cNvSpPr>
            <a:spLocks noGrp="1"/>
          </p:cNvSpPr>
          <p:nvPr>
            <p:ph type="title"/>
          </p:nvPr>
        </p:nvSpPr>
        <p:spPr bwMode="auto">
          <a:xfrm>
            <a:off x="190407" y="784081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1192144637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762374" y="1722704"/>
            <a:ext cx="10514928" cy="4351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  <p:sldLayoutId id="2147483711" r:id="rId63"/>
    <p:sldLayoutId id="2147483712" r:id="rId64"/>
    <p:sldLayoutId id="2147483713" r:id="rId65"/>
  </p:sldLayoutIdLst>
  <p:hf hdr="0"/>
  <p:txStyles>
    <p:titleStyle>
      <a:lvl1pPr algn="l" defTabSz="967527" rtl="0">
        <a:lnSpc>
          <a:spcPct val="80000"/>
        </a:lnSpc>
        <a:spcBef>
          <a:spcPts val="0"/>
        </a:spcBef>
        <a:buNone/>
        <a:defRPr lang="ru-RU" sz="2850" b="0" i="0" cap="none" spc="107">
          <a:solidFill>
            <a:schemeClr val="tx1"/>
          </a:solidFill>
          <a:latin typeface="MTS Wide Medium"/>
          <a:ea typeface="MTS Wide Medium"/>
          <a:cs typeface="Arial Black"/>
        </a:defRPr>
      </a:lvl1pPr>
    </p:titleStyle>
    <p:bodyStyle>
      <a:lvl1pPr marL="0" indent="0" algn="l" defTabSz="967527" rtl="0">
        <a:spcBef>
          <a:spcPts val="0"/>
        </a:spcBef>
        <a:buFontTx/>
        <a:buNone/>
        <a:defRPr sz="3400" b="0" i="0">
          <a:solidFill>
            <a:schemeClr val="tx1"/>
          </a:solidFill>
          <a:latin typeface="MTS Text"/>
          <a:ea typeface="MTS Text"/>
          <a:cs typeface="+mn-cs"/>
        </a:defRPr>
      </a:lvl1pPr>
      <a:lvl2pPr marL="483763" indent="0" algn="l" defTabSz="967527" rtl="0">
        <a:spcBef>
          <a:spcPts val="0"/>
        </a:spcBef>
        <a:buFontTx/>
        <a:buNone/>
        <a:defRPr sz="2950" b="0" i="0">
          <a:solidFill>
            <a:schemeClr val="tx1"/>
          </a:solidFill>
          <a:latin typeface="MTS Text"/>
          <a:ea typeface="MTS Text"/>
          <a:cs typeface="+mn-cs"/>
        </a:defRPr>
      </a:lvl2pPr>
      <a:lvl3pPr marL="967525" indent="0" algn="l" defTabSz="967527" rtl="0">
        <a:spcBef>
          <a:spcPts val="0"/>
        </a:spcBef>
        <a:buFontTx/>
        <a:buNone/>
        <a:defRPr sz="2550" b="0" i="0">
          <a:solidFill>
            <a:schemeClr val="tx1"/>
          </a:solidFill>
          <a:latin typeface="MTS Text"/>
          <a:ea typeface="MTS Text"/>
          <a:cs typeface="+mn-cs"/>
        </a:defRPr>
      </a:lvl3pPr>
      <a:lvl4pPr marL="1451289" indent="0" algn="l" defTabSz="967527" rtl="0">
        <a:spcBef>
          <a:spcPts val="0"/>
        </a:spcBef>
        <a:buFontTx/>
        <a:buNone/>
        <a:defRPr sz="2100" b="0" i="0">
          <a:solidFill>
            <a:schemeClr val="tx1"/>
          </a:solidFill>
          <a:latin typeface="MTS Text"/>
          <a:ea typeface="MTS Text"/>
          <a:cs typeface="+mn-cs"/>
        </a:defRPr>
      </a:lvl4pPr>
      <a:lvl5pPr marL="1935052" indent="0" algn="l" defTabSz="967527" rtl="0">
        <a:spcBef>
          <a:spcPts val="0"/>
        </a:spcBef>
        <a:buFontTx/>
        <a:buNone/>
        <a:defRPr sz="2100" b="0" i="0">
          <a:solidFill>
            <a:schemeClr val="tx1"/>
          </a:solidFill>
          <a:latin typeface="MTS Text"/>
          <a:ea typeface="MTS Text"/>
          <a:cs typeface="+mn-cs"/>
        </a:defRPr>
      </a:lvl5pPr>
      <a:lvl6pPr marL="2660697" indent="-241882" algn="l" defTabSz="967527" rtl="0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6pPr>
      <a:lvl7pPr marL="3144461" indent="-241882" algn="l" defTabSz="967527" rtl="0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7pPr>
      <a:lvl8pPr marL="3628223" indent="-241882" algn="l" defTabSz="967527" rtl="0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8pPr>
      <a:lvl9pPr marL="4111987" indent="-241882" algn="l" defTabSz="967527" rtl="0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483763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2pPr>
      <a:lvl3pPr marL="967527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3pPr>
      <a:lvl4pPr marL="1451289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4pPr>
      <a:lvl5pPr marL="1935053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5pPr>
      <a:lvl6pPr marL="2418816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6pPr>
      <a:lvl7pPr marL="2902579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7pPr>
      <a:lvl8pPr marL="3386341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8pPr>
      <a:lvl9pPr marL="3870105" algn="l" defTabSz="967527" rtl="0">
        <a:defRPr sz="19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microsoft.com/office/2007/relationships/hdphoto" Target="../media/hdphoto1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83138314" name="Рисунок 5"/>
          <p:cNvPicPr>
            <a:picLocks noChangeAspect="1"/>
          </p:cNvPicPr>
          <p:nvPr/>
        </p:nvPicPr>
        <p:blipFill rotWithShape="1">
          <a:blip r:embed="rId3"/>
          <a:srcRect l="33327"/>
          <a:stretch/>
        </p:blipFill>
        <p:spPr bwMode="auto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040338357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000" b="0" i="0" u="none" strike="noStrike" cap="none" spc="0">
                <a:ln>
                  <a:noFill/>
                </a:ln>
                <a:solidFill>
                  <a:srgbClr val="F8F8F8">
                    <a:lumMod val="75000"/>
                  </a:srgbClr>
                </a:solidFill>
                <a:latin typeface="MTS Text"/>
                <a:ea typeface="MTS Text"/>
              </a:rPr>
              <a:t>.</a:t>
            </a:r>
            <a:endParaRPr/>
          </a:p>
        </p:txBody>
      </p:sp>
      <p:sp>
        <p:nvSpPr>
          <p:cNvPr id="1230822088" name="Заголовок 1"/>
          <p:cNvSpPr txBox="1"/>
          <p:nvPr/>
        </p:nvSpPr>
        <p:spPr bwMode="auto">
          <a:xfrm>
            <a:off x="1871231" y="7055738"/>
            <a:ext cx="3241689" cy="7876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>
              <a:lnSpc>
                <a:spcPts val="4000"/>
              </a:lnSpc>
              <a:spcBef>
                <a:spcPts val="0"/>
              </a:spcBef>
              <a:buNone/>
              <a:defRPr sz="4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800" b="1" i="0" u="none" strike="noStrike" cap="none" spc="0">
              <a:ln>
                <a:noFill/>
              </a:ln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447044426" name="Прямоугольник 6"/>
          <p:cNvSpPr/>
          <p:nvPr/>
        </p:nvSpPr>
        <p:spPr bwMode="auto">
          <a:xfrm>
            <a:off x="129886" y="5198201"/>
            <a:ext cx="7013045" cy="1371960"/>
          </a:xfrm>
          <a:prstGeom prst="rect">
            <a:avLst/>
          </a:prstGeom>
          <a:solidFill>
            <a:schemeClr val="bg1">
              <a:lumMod val="85000"/>
              <a:alpha val="52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>
                <a:latin typeface="MTS Text"/>
              </a:rPr>
              <a:t>Выгодное предложение </a:t>
            </a:r>
            <a:endParaRPr sz="2800"/>
          </a:p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>
                <a:latin typeface="MTS Text"/>
              </a:rPr>
              <a:t>для студентов, аспирантов и сотрудников ОмГТУ </a:t>
            </a:r>
            <a:endParaRPr lang="ru-RU" sz="5000" b="1" i="0" u="none" strike="noStrike" cap="none" spc="0">
              <a:ln>
                <a:noFill/>
              </a:ln>
              <a:latin typeface="MTS Text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44037534" name="Рисунок 6"/>
          <p:cNvPicPr>
            <a:picLocks noChangeAspect="1"/>
          </p:cNvPicPr>
          <p:nvPr/>
        </p:nvPicPr>
        <p:blipFill rotWithShape="1">
          <a:blip r:embed="rId3"/>
          <a:stretch/>
        </p:blipFill>
        <p:spPr bwMode="auto">
          <a:xfrm>
            <a:off x="0" y="0"/>
            <a:ext cx="12193057" cy="6858594"/>
          </a:xfrm>
          <a:prstGeom prst="rect">
            <a:avLst/>
          </a:prstGeom>
        </p:spPr>
      </p:pic>
      <p:sp>
        <p:nvSpPr>
          <p:cNvPr id="1374560337" name="Прямоугольник с двумя скругленными противолежащими углами 25"/>
          <p:cNvSpPr/>
          <p:nvPr/>
        </p:nvSpPr>
        <p:spPr bwMode="auto">
          <a:xfrm>
            <a:off x="8670059" y="2578843"/>
            <a:ext cx="3367651" cy="89468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E400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5000" b="0" i="0" u="none" strike="noStrike" cap="none" spc="0">
              <a:ln>
                <a:noFill/>
              </a:ln>
              <a:solidFill>
                <a:srgbClr val="FFFFFF"/>
              </a:solidFill>
              <a:ea typeface="Arial"/>
              <a:cs typeface="Arial"/>
            </a:endParaRPr>
          </a:p>
        </p:txBody>
      </p:sp>
      <p:sp>
        <p:nvSpPr>
          <p:cNvPr id="569574898" name="TextBox 26"/>
          <p:cNvSpPr txBox="1"/>
          <p:nvPr/>
        </p:nvSpPr>
        <p:spPr bwMode="auto">
          <a:xfrm>
            <a:off x="8873658" y="2608860"/>
            <a:ext cx="2711142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BF7"/>
              </a:buClr>
              <a:buSzTx/>
              <a:buFontTx/>
              <a:buNone/>
              <a:defRPr/>
            </a:pPr>
            <a:r>
              <a:rPr lang="ru-RU" sz="4000" b="1" i="0" u="none" strike="noStrike" cap="none" spc="0" dirty="0" smtClean="0">
                <a:ln>
                  <a:noFill/>
                </a:ln>
                <a:solidFill>
                  <a:srgbClr val="FFFFFF"/>
                </a:solidFill>
                <a:ea typeface="MTS Sans"/>
                <a:cs typeface="+mn-cs"/>
              </a:rPr>
              <a:t>162,50</a:t>
            </a:r>
            <a:r>
              <a:rPr lang="ru-RU" sz="5000" b="0" i="0" u="none" strike="noStrike" cap="none" spc="0" dirty="0" smtClean="0">
                <a:ln>
                  <a:noFill/>
                </a:ln>
                <a:solidFill>
                  <a:srgbClr val="FFFFFF"/>
                </a:solidFill>
                <a:ea typeface="MTS Sans"/>
                <a:cs typeface="+mn-cs"/>
              </a:rPr>
              <a:t> </a:t>
            </a:r>
            <a:r>
              <a:rPr lang="ru-RU" sz="2000" b="0" i="0" u="none" strike="noStrike" cap="none" spc="0" dirty="0">
                <a:ln>
                  <a:noFill/>
                </a:ln>
                <a:solidFill>
                  <a:srgbClr val="FFFFFF"/>
                </a:solidFill>
                <a:ea typeface="MTS Sans"/>
                <a:cs typeface="+mn-cs"/>
              </a:rPr>
              <a:t>₽/</a:t>
            </a:r>
            <a:r>
              <a:rPr lang="ru-RU" sz="2000" b="0" i="0" u="none" strike="noStrike" cap="none" spc="0" dirty="0" err="1">
                <a:ln>
                  <a:noFill/>
                </a:ln>
                <a:solidFill>
                  <a:srgbClr val="FFFFFF"/>
                </a:solidFill>
                <a:ea typeface="MTS Sans"/>
                <a:cs typeface="+mn-cs"/>
              </a:rPr>
              <a:t>мес</a:t>
            </a:r>
            <a:endParaRPr dirty="0"/>
          </a:p>
        </p:txBody>
      </p:sp>
      <p:pic>
        <p:nvPicPr>
          <p:cNvPr id="97468494" name="Рисунок 3"/>
          <p:cNvPicPr>
            <a:picLocks noChangeAspect="1"/>
          </p:cNvPicPr>
          <p:nvPr/>
        </p:nvPicPr>
        <p:blipFill rotWithShape="1">
          <a:blip r:embed="rId4"/>
          <a:srcRect l="7757" t="11081" r="13438" b="13918"/>
          <a:stretch/>
        </p:blipFill>
        <p:spPr bwMode="auto">
          <a:xfrm>
            <a:off x="11308453" y="0"/>
            <a:ext cx="883547" cy="877455"/>
          </a:xfrm>
          <a:prstGeom prst="rect">
            <a:avLst/>
          </a:prstGeom>
        </p:spPr>
      </p:pic>
      <p:pic>
        <p:nvPicPr>
          <p:cNvPr id="314622655" name="Picture 2" descr="Официальный сайт МТС Бизнес - Москва и Московская область"/>
          <p:cNvPicPr>
            <a:picLocks noChangeAspect="1" noChangeArrowheads="1"/>
          </p:cNvPicPr>
          <p:nvPr/>
        </p:nvPicPr>
        <p:blipFill rotWithShape="1">
          <a:blip r:embed="rId5"/>
          <a:stretch/>
        </p:blipFill>
        <p:spPr bwMode="auto">
          <a:xfrm>
            <a:off x="6911381" y="3026186"/>
            <a:ext cx="5280619" cy="3831814"/>
          </a:xfrm>
          <a:prstGeom prst="rect">
            <a:avLst/>
          </a:prstGeom>
          <a:noFill/>
        </p:spPr>
      </p:pic>
      <p:sp>
        <p:nvSpPr>
          <p:cNvPr id="1034282530" name="Прямоугольник 1"/>
          <p:cNvSpPr/>
          <p:nvPr/>
        </p:nvSpPr>
        <p:spPr bwMode="auto">
          <a:xfrm>
            <a:off x="127956" y="84079"/>
            <a:ext cx="1073653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dirty="0">
                <a:solidFill>
                  <a:srgbClr val="DA2730"/>
                </a:solidFill>
                <a:latin typeface="MTS Text"/>
              </a:rPr>
              <a:t>Выгодные тарифы для студентов, аспирантов и сотрудников </a:t>
            </a:r>
            <a:r>
              <a:rPr lang="ru-RU" sz="2800" b="1" dirty="0" err="1">
                <a:solidFill>
                  <a:srgbClr val="DA2730"/>
                </a:solidFill>
                <a:latin typeface="MTS Text"/>
              </a:rPr>
              <a:t>ОмГТУ</a:t>
            </a:r>
            <a:r>
              <a:rPr lang="ru-RU" sz="2800" b="1" dirty="0">
                <a:solidFill>
                  <a:srgbClr val="DA2730"/>
                </a:solidFill>
                <a:latin typeface="MTS Text"/>
              </a:rPr>
              <a:t> </a:t>
            </a:r>
            <a:endParaRPr lang="ru-RU" sz="2800" b="1" i="0" u="none" strike="noStrike" cap="none" spc="0" dirty="0">
              <a:ln>
                <a:noFill/>
              </a:ln>
              <a:solidFill>
                <a:srgbClr val="DA2730"/>
              </a:solidFill>
              <a:latin typeface="MTS Text"/>
            </a:endParaRPr>
          </a:p>
        </p:txBody>
      </p:sp>
      <p:sp>
        <p:nvSpPr>
          <p:cNvPr id="1700489855" name="TextBox 18"/>
          <p:cNvSpPr txBox="1"/>
          <p:nvPr/>
        </p:nvSpPr>
        <p:spPr bwMode="auto">
          <a:xfrm>
            <a:off x="3778651" y="1122859"/>
            <a:ext cx="505488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BF7"/>
              </a:buClr>
              <a:buSzTx/>
              <a:buFontTx/>
              <a:buNone/>
              <a:defRPr/>
            </a:pPr>
            <a:r>
              <a:rPr lang="ru-RU" sz="2000" b="0" i="0" u="none" strike="noStrike" cap="none" spc="0" dirty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</a:rPr>
              <a:t>звонки на номера всех операторов домашнего региона и России</a:t>
            </a:r>
          </a:p>
        </p:txBody>
      </p:sp>
      <p:sp>
        <p:nvSpPr>
          <p:cNvPr id="424746707" name="Прямоугольник 19"/>
          <p:cNvSpPr/>
          <p:nvPr/>
        </p:nvSpPr>
        <p:spPr bwMode="auto">
          <a:xfrm>
            <a:off x="1226064" y="1403170"/>
            <a:ext cx="24112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4000" b="1" i="0" u="none" strike="noStrike" cap="none" spc="0" dirty="0" smtClean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  <a:cs typeface="+mn-cs"/>
              </a:rPr>
              <a:t>1200</a:t>
            </a:r>
            <a:r>
              <a:rPr lang="ru-RU" sz="4000" b="1" i="0" u="none" strike="noStrike" cap="none" spc="0" dirty="0" smtClean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  <a:cs typeface="+mn-cs"/>
              </a:rPr>
              <a:t> </a:t>
            </a:r>
            <a:r>
              <a:rPr lang="ru-RU" sz="3000" b="0" i="0" u="none" strike="noStrike" cap="none" spc="0" dirty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  <a:cs typeface="+mn-cs"/>
              </a:rPr>
              <a:t>мин</a:t>
            </a:r>
            <a:r>
              <a:rPr lang="ru-RU" sz="4000" b="0" i="0" u="none" strike="noStrike" cap="none" spc="0" dirty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  <a:cs typeface="+mn-cs"/>
              </a:rPr>
              <a:t> </a:t>
            </a:r>
            <a:endParaRPr lang="ru-RU" sz="4000" b="0" i="0" u="none" strike="noStrike" cap="none" spc="0" dirty="0">
              <a:ln>
                <a:noFill/>
              </a:ln>
              <a:solidFill>
                <a:srgbClr val="000000"/>
              </a:solidFill>
              <a:latin typeface="MTS Text"/>
              <a:cs typeface="+mn-cs"/>
            </a:endParaRPr>
          </a:p>
        </p:txBody>
      </p:sp>
      <p:sp>
        <p:nvSpPr>
          <p:cNvPr id="530670269" name="TextBox 20"/>
          <p:cNvSpPr txBox="1"/>
          <p:nvPr/>
        </p:nvSpPr>
        <p:spPr bwMode="auto">
          <a:xfrm>
            <a:off x="4069803" y="2759642"/>
            <a:ext cx="435094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BF7"/>
              </a:buClr>
              <a:buSzTx/>
              <a:buFontTx/>
              <a:buNone/>
              <a:defRPr sz="12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</a:defRPr>
            </a:lvl1pPr>
          </a:lstStyle>
          <a:p>
            <a:pPr>
              <a:defRPr/>
            </a:pPr>
            <a:r>
              <a:rPr lang="en-US" sz="2000" dirty="0"/>
              <a:t>SMS</a:t>
            </a:r>
            <a:r>
              <a:rPr lang="ru-RU" sz="2000" dirty="0"/>
              <a:t> на всех операторов России</a:t>
            </a:r>
          </a:p>
        </p:txBody>
      </p:sp>
      <p:sp>
        <p:nvSpPr>
          <p:cNvPr id="41066434" name="Прямоугольник 21"/>
          <p:cNvSpPr/>
          <p:nvPr/>
        </p:nvSpPr>
        <p:spPr bwMode="auto">
          <a:xfrm>
            <a:off x="1230427" y="2476040"/>
            <a:ext cx="274305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4000" b="1" i="0" u="none" strike="noStrike" cap="none" spc="0" dirty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  <a:cs typeface="+mn-cs"/>
              </a:rPr>
              <a:t>500 </a:t>
            </a:r>
            <a:r>
              <a:rPr lang="ru-RU" sz="2000" dirty="0">
                <a:solidFill>
                  <a:srgbClr val="000000"/>
                </a:solidFill>
                <a:latin typeface="MTS Text"/>
                <a:ea typeface="MTS Sans"/>
              </a:rPr>
              <a:t>сообщений</a:t>
            </a:r>
            <a:endParaRPr lang="ru-RU" sz="2000" i="0" u="none" strike="noStrike" cap="none" spc="0" dirty="0">
              <a:ln>
                <a:noFill/>
              </a:ln>
              <a:solidFill>
                <a:srgbClr val="000000"/>
              </a:solidFill>
              <a:latin typeface="MTS Text"/>
            </a:endParaRPr>
          </a:p>
        </p:txBody>
      </p:sp>
      <p:sp>
        <p:nvSpPr>
          <p:cNvPr id="1054238875" name="TextBox 35"/>
          <p:cNvSpPr txBox="1"/>
          <p:nvPr/>
        </p:nvSpPr>
        <p:spPr bwMode="auto">
          <a:xfrm>
            <a:off x="3778651" y="1720862"/>
            <a:ext cx="792723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7BF7"/>
              </a:buClr>
              <a:buSzTx/>
              <a:buFontTx/>
              <a:buNone/>
              <a:defRPr sz="12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</a:defRPr>
            </a:lvl1pPr>
          </a:lstStyle>
          <a:p>
            <a:pPr>
              <a:defRPr/>
            </a:pPr>
            <a:r>
              <a:rPr lang="ru-RU" sz="1100" dirty="0">
                <a:solidFill>
                  <a:srgbClr val="C00000"/>
                </a:solidFill>
              </a:rPr>
              <a:t>сверх пакета </a:t>
            </a:r>
          </a:p>
          <a:p>
            <a:pPr>
              <a:defRPr/>
            </a:pPr>
            <a:r>
              <a:rPr lang="ru-RU" sz="1100" b="1" dirty="0">
                <a:solidFill>
                  <a:srgbClr val="C00000"/>
                </a:solidFill>
              </a:rPr>
              <a:t>0 руб./мин </a:t>
            </a:r>
            <a:r>
              <a:rPr lang="ru-RU" sz="1100" dirty="0">
                <a:solidFill>
                  <a:srgbClr val="C00000"/>
                </a:solidFill>
              </a:rPr>
              <a:t>на МТС домашнего региона и России</a:t>
            </a:r>
            <a:endParaRPr dirty="0"/>
          </a:p>
          <a:p>
            <a:pPr>
              <a:defRPr/>
            </a:pPr>
            <a:r>
              <a:rPr lang="ru-RU" sz="1100" dirty="0"/>
              <a:t>(на номера других операторов и номера фикс. связи домашнего региона – 1,75 руб./мин. </a:t>
            </a:r>
            <a:endParaRPr dirty="0"/>
          </a:p>
          <a:p>
            <a:pPr>
              <a:defRPr/>
            </a:pPr>
            <a:r>
              <a:rPr lang="ru-RU" sz="1100" dirty="0"/>
              <a:t>По России – 11,50 руб./мин)</a:t>
            </a:r>
          </a:p>
          <a:p>
            <a:pPr>
              <a:defRPr/>
            </a:pP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4808" y="3947704"/>
            <a:ext cx="432000" cy="43200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4808" y="1541113"/>
            <a:ext cx="432000" cy="432000"/>
          </a:xfrm>
          <a:prstGeom prst="rect">
            <a:avLst/>
          </a:prstGeom>
        </p:spPr>
      </p:pic>
      <p:sp>
        <p:nvSpPr>
          <p:cNvPr id="28" name="Прямоугольник 21"/>
          <p:cNvSpPr/>
          <p:nvPr/>
        </p:nvSpPr>
        <p:spPr bwMode="auto">
          <a:xfrm>
            <a:off x="1226064" y="3809761"/>
            <a:ext cx="65630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4000" b="1" i="0" u="none" strike="noStrike" cap="none" spc="0" dirty="0" err="1" smtClean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  <a:cs typeface="+mn-cs"/>
              </a:rPr>
              <a:t>Безлимитный</a:t>
            </a:r>
            <a:r>
              <a:rPr lang="ru-RU" sz="4000" b="1" i="0" u="none" strike="noStrike" cap="none" spc="0" dirty="0" smtClean="0">
                <a:ln>
                  <a:noFill/>
                </a:ln>
                <a:solidFill>
                  <a:srgbClr val="000000"/>
                </a:solidFill>
                <a:latin typeface="MTS Text"/>
                <a:ea typeface="MTS Sans"/>
                <a:cs typeface="+mn-cs"/>
              </a:rPr>
              <a:t> интернет</a:t>
            </a:r>
            <a:endParaRPr lang="ru-RU" sz="2000" i="0" u="none" strike="noStrike" cap="none" spc="0" dirty="0">
              <a:ln>
                <a:noFill/>
              </a:ln>
              <a:solidFill>
                <a:srgbClr val="000000"/>
              </a:solidFill>
              <a:latin typeface="MTS Tex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082829314" name="Рисунок 6"/>
          <p:cNvPicPr>
            <a:picLocks noChangeAspect="1"/>
          </p:cNvPicPr>
          <p:nvPr/>
        </p:nvPicPr>
        <p:blipFill rotWithShape="1">
          <a:blip r:embed="rId3"/>
          <a:stretch/>
        </p:blipFill>
        <p:spPr bwMode="auto">
          <a:xfrm>
            <a:off x="-1056" y="0"/>
            <a:ext cx="12193056" cy="6858594"/>
          </a:xfrm>
          <a:prstGeom prst="rect">
            <a:avLst/>
          </a:prstGeom>
        </p:spPr>
      </p:pic>
      <p:pic>
        <p:nvPicPr>
          <p:cNvPr id="485939508" name="Рисунок 3"/>
          <p:cNvPicPr>
            <a:picLocks noChangeAspect="1"/>
          </p:cNvPicPr>
          <p:nvPr/>
        </p:nvPicPr>
        <p:blipFill rotWithShape="1">
          <a:blip r:embed="rId4"/>
          <a:srcRect l="7757" t="11081" r="13438" b="13918"/>
          <a:stretch/>
        </p:blipFill>
        <p:spPr bwMode="auto">
          <a:xfrm>
            <a:off x="11308452" y="0"/>
            <a:ext cx="883546" cy="877455"/>
          </a:xfrm>
          <a:prstGeom prst="rect">
            <a:avLst/>
          </a:prstGeom>
        </p:spPr>
      </p:pic>
      <p:pic>
        <p:nvPicPr>
          <p:cNvPr id="1450504393" name="Picture 2" descr="Официальный сайт МТС Бизнес - Москва и Московская область"/>
          <p:cNvPicPr>
            <a:picLocks noChangeAspect="1" noChangeArrowheads="1"/>
          </p:cNvPicPr>
          <p:nvPr/>
        </p:nvPicPr>
        <p:blipFill rotWithShape="1">
          <a:blip r:embed="rId5"/>
          <a:stretch/>
        </p:blipFill>
        <p:spPr bwMode="auto">
          <a:xfrm>
            <a:off x="6911380" y="3026185"/>
            <a:ext cx="5280618" cy="3831813"/>
          </a:xfrm>
          <a:prstGeom prst="rect">
            <a:avLst/>
          </a:prstGeom>
          <a:noFill/>
        </p:spPr>
      </p:pic>
      <p:sp>
        <p:nvSpPr>
          <p:cNvPr id="1187674037" name="Прямоугольник 1"/>
          <p:cNvSpPr/>
          <p:nvPr/>
        </p:nvSpPr>
        <p:spPr bwMode="auto">
          <a:xfrm>
            <a:off x="127956" y="84079"/>
            <a:ext cx="10736539" cy="457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400" b="1">
                <a:solidFill>
                  <a:srgbClr val="DA2730"/>
                </a:solidFill>
                <a:latin typeface="MTS Text"/>
              </a:rPr>
              <a:t>Выгодные тарифы для студентов, аспирантов и сотрудников ОмГТУ </a:t>
            </a:r>
            <a:endParaRPr lang="ru-RU" sz="2800" b="1" i="0" u="none" strike="noStrike" cap="none" spc="0">
              <a:ln>
                <a:noFill/>
              </a:ln>
              <a:solidFill>
                <a:srgbClr val="DA2730"/>
              </a:solidFill>
              <a:latin typeface="MTS Text"/>
              <a:ea typeface="Arial"/>
              <a:cs typeface="Arial"/>
            </a:endParaRPr>
          </a:p>
        </p:txBody>
      </p:sp>
      <p:pic>
        <p:nvPicPr>
          <p:cNvPr id="895444605" name="Рисунок 3"/>
          <p:cNvPicPr>
            <a:picLocks noChangeAspect="1"/>
          </p:cNvPicPr>
          <p:nvPr/>
        </p:nvPicPr>
        <p:blipFill rotWithShape="1">
          <a:blip r:embed="rId4"/>
          <a:srcRect l="7757" t="11081" r="13438" b="13918"/>
          <a:stretch/>
        </p:blipFill>
        <p:spPr bwMode="auto">
          <a:xfrm>
            <a:off x="11308452" y="0"/>
            <a:ext cx="883546" cy="877455"/>
          </a:xfrm>
          <a:prstGeom prst="rect">
            <a:avLst/>
          </a:prstGeom>
        </p:spPr>
      </p:pic>
      <p:sp>
        <p:nvSpPr>
          <p:cNvPr id="822429052" name="Прямоугольник 1"/>
          <p:cNvSpPr/>
          <p:nvPr/>
        </p:nvSpPr>
        <p:spPr bwMode="auto">
          <a:xfrm>
            <a:off x="127956" y="84079"/>
            <a:ext cx="10736898" cy="457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400" b="1">
                <a:solidFill>
                  <a:srgbClr val="DA2730"/>
                </a:solidFill>
                <a:latin typeface="MTS Text"/>
              </a:rPr>
              <a:t>Выгодные тарифы для студентов, аспирантов и сотрудников ОмГТУ </a:t>
            </a:r>
            <a:endParaRPr lang="ru-RU" sz="2800" b="1" i="0" u="none" strike="noStrike" cap="none" spc="0">
              <a:ln>
                <a:noFill/>
              </a:ln>
              <a:solidFill>
                <a:srgbClr val="DA2730"/>
              </a:solidFill>
              <a:latin typeface="MTS Text"/>
              <a:ea typeface="Arial"/>
              <a:cs typeface="Arial"/>
            </a:endParaRPr>
          </a:p>
        </p:txBody>
      </p:sp>
      <p:sp>
        <p:nvSpPr>
          <p:cNvPr id="794942606" name="TextBox 794942605"/>
          <p:cNvSpPr txBox="1"/>
          <p:nvPr/>
        </p:nvSpPr>
        <p:spPr bwMode="auto">
          <a:xfrm>
            <a:off x="598512" y="877454"/>
            <a:ext cx="7516787" cy="33329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l">
              <a:defRPr/>
            </a:pPr>
            <a:r>
              <a:rPr lang="ru-RU" b="1" dirty="0">
                <a:solidFill>
                  <a:srgbClr val="C00000"/>
                </a:solidFill>
                <a:latin typeface="MTS Text"/>
                <a:ea typeface="MTS Text"/>
              </a:rPr>
              <a:t>Как подключить:</a:t>
            </a:r>
            <a:endParaRPr dirty="0"/>
          </a:p>
          <a:p>
            <a:pPr algn="l">
              <a:defRPr/>
            </a:pPr>
            <a:r>
              <a:rPr lang="ru-RU" dirty="0">
                <a:latin typeface="MTS Text"/>
                <a:ea typeface="MTS Text"/>
              </a:rPr>
              <a:t>Для оформления тарифа обратитесь в офис МТС</a:t>
            </a:r>
            <a:endParaRPr dirty="0"/>
          </a:p>
          <a:p>
            <a:pPr algn="l">
              <a:defRPr/>
            </a:pPr>
            <a:r>
              <a:rPr lang="ru-RU" dirty="0">
                <a:latin typeface="MTS Text"/>
                <a:ea typeface="MTS Text"/>
              </a:rPr>
              <a:t>по </a:t>
            </a:r>
            <a:r>
              <a:rPr lang="ru-RU" dirty="0" smtClean="0">
                <a:latin typeface="MTS Text"/>
                <a:ea typeface="MTS Text"/>
              </a:rPr>
              <a:t>адресу:</a:t>
            </a:r>
            <a:endParaRPr dirty="0"/>
          </a:p>
          <a:p>
            <a:pPr marL="285750" indent="-285750" algn="l">
              <a:buFont typeface="Wingdings"/>
              <a:buChar char="q"/>
              <a:defRPr/>
            </a:pPr>
            <a:r>
              <a:rPr lang="ru-RU" dirty="0">
                <a:latin typeface="MTS Text"/>
                <a:ea typeface="MTS Text"/>
              </a:rPr>
              <a:t>г. Омск, </a:t>
            </a:r>
            <a:r>
              <a:rPr lang="ru-RU" dirty="0" err="1">
                <a:latin typeface="MTS Text"/>
                <a:ea typeface="MTS Text"/>
              </a:rPr>
              <a:t>пр-кт</a:t>
            </a:r>
            <a:r>
              <a:rPr lang="ru-RU" dirty="0">
                <a:latin typeface="MTS Text"/>
                <a:ea typeface="MTS Text"/>
              </a:rPr>
              <a:t> Мира д. </a:t>
            </a:r>
            <a:r>
              <a:rPr lang="ru-RU" dirty="0" smtClean="0">
                <a:latin typeface="MTS Text"/>
                <a:ea typeface="MTS Text"/>
              </a:rPr>
              <a:t>54: с 12:00 до 15:00 вторник, четверг</a:t>
            </a:r>
            <a:endParaRPr b="1" dirty="0"/>
          </a:p>
          <a:p>
            <a:pPr algn="l">
              <a:defRPr/>
            </a:pPr>
            <a:endParaRPr lang="ru-RU" dirty="0">
              <a:solidFill>
                <a:srgbClr val="C00000"/>
              </a:solidFill>
              <a:latin typeface="MTS Text"/>
              <a:ea typeface="MTS Text"/>
            </a:endParaRPr>
          </a:p>
          <a:p>
            <a:pPr algn="l">
              <a:defRPr/>
            </a:pPr>
            <a:r>
              <a:rPr lang="ru-RU" b="1" dirty="0">
                <a:solidFill>
                  <a:srgbClr val="C00000"/>
                </a:solidFill>
                <a:latin typeface="MTS Text"/>
                <a:ea typeface="MTS Text"/>
              </a:rPr>
              <a:t>Что необходимо для подключения:</a:t>
            </a:r>
            <a:endParaRPr dirty="0"/>
          </a:p>
          <a:p>
            <a:pPr marL="285750" indent="-285750" algn="l">
              <a:buFont typeface="Wingdings"/>
              <a:buChar char="q"/>
              <a:defRPr/>
            </a:pPr>
            <a:r>
              <a:rPr lang="ru-RU" dirty="0">
                <a:latin typeface="MTS Text"/>
                <a:ea typeface="MTS Text"/>
              </a:rPr>
              <a:t>паспорт </a:t>
            </a:r>
            <a:endParaRPr dirty="0"/>
          </a:p>
          <a:p>
            <a:pPr marL="285750" indent="-285750" algn="l">
              <a:buFont typeface="Wingdings"/>
              <a:buChar char="q"/>
              <a:defRPr/>
            </a:pPr>
            <a:r>
              <a:rPr lang="ru-RU" dirty="0">
                <a:latin typeface="MTS Text"/>
                <a:ea typeface="MTS Text"/>
              </a:rPr>
              <a:t>Документ, подтверждающий статус студента, аспиранта или сотрудника </a:t>
            </a:r>
            <a:r>
              <a:rPr lang="ru-RU" dirty="0" err="1">
                <a:latin typeface="MTS Text"/>
                <a:ea typeface="MTS Text"/>
              </a:rPr>
              <a:t>ОмГТУ</a:t>
            </a:r>
            <a:r>
              <a:rPr lang="ru-RU" dirty="0">
                <a:latin typeface="MTS Text"/>
                <a:ea typeface="MTS Text"/>
              </a:rPr>
              <a:t> (студенческий билет, служебное удостоверение и т.п.).</a:t>
            </a:r>
            <a:endParaRPr dirty="0"/>
          </a:p>
        </p:txBody>
      </p:sp>
      <p:sp>
        <p:nvSpPr>
          <p:cNvPr id="625552993" name="TextBox 625552992"/>
          <p:cNvSpPr txBox="1"/>
          <p:nvPr/>
        </p:nvSpPr>
        <p:spPr bwMode="auto">
          <a:xfrm>
            <a:off x="127956" y="4884072"/>
            <a:ext cx="8916892" cy="7404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5750" indent="-285750" algn="l">
              <a:buFont typeface="Wingdings"/>
              <a:buChar char="Ø"/>
              <a:defRPr/>
            </a:pPr>
            <a:r>
              <a:rPr lang="ru-RU" b="1" dirty="0">
                <a:latin typeface="MTS Text"/>
                <a:ea typeface="MTS Text"/>
              </a:rPr>
              <a:t>Доступно для новых подключений и при переходе в МТС со своим номером.</a:t>
            </a:r>
            <a:endParaRPr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22_Контентные слайды: Светлый фон">
  <a:themeElements>
    <a:clrScheme name="Custom 70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F77BF7"/>
      </a:accent1>
      <a:accent2>
        <a:srgbClr val="04CFFF"/>
      </a:accent2>
      <a:accent3>
        <a:srgbClr val="CEFFA6"/>
      </a:accent3>
      <a:accent4>
        <a:srgbClr val="9557E5"/>
      </a:accent4>
      <a:accent5>
        <a:srgbClr val="007EE8"/>
      </a:accent5>
      <a:accent6>
        <a:srgbClr val="FF0032"/>
      </a:accent6>
      <a:hlink>
        <a:srgbClr val="FF0032"/>
      </a:hlink>
      <a:folHlink>
        <a:srgbClr val="A9A9A9"/>
      </a:folHlink>
    </a:clrScheme>
    <a:fontScheme name="MTS">
      <a:majorFont>
        <a:latin typeface="MTS Wide Medium"/>
        <a:ea typeface="Arial"/>
        <a:cs typeface="Arial"/>
      </a:majorFont>
      <a:minorFont>
        <a:latin typeface="MTS Text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bg1">
            <a:lumMod val="50000"/>
          </a:schemeClr>
        </a:solidFill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</TotalTime>
  <Words>168</Words>
  <Application>Microsoft Office PowerPoint</Application>
  <PresentationFormat>Произвольный</PresentationFormat>
  <Paragraphs>26</Paragraphs>
  <Slides>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5" baseType="lpstr">
      <vt:lpstr>22_Контентные слайды: Светлый фон</vt:lpstr>
      <vt:lpstr>oleObj</vt:lpstr>
      <vt:lpstr>Презентация PowerPoint</vt:lpstr>
      <vt:lpstr>Презентация PowerPoint</vt:lpstr>
      <vt:lpstr>Презентация PowerPoint</vt:lpstr>
    </vt:vector>
  </TitlesOfParts>
  <Company>ПАО "МТС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таршова Ирина</dc:creator>
  <cp:lastModifiedBy>Светлана В. Кирьянко</cp:lastModifiedBy>
  <cp:revision>25</cp:revision>
  <dcterms:created xsi:type="dcterms:W3CDTF">2025-11-06T05:04:59Z</dcterms:created>
  <dcterms:modified xsi:type="dcterms:W3CDTF">2026-04-08T08:21:54Z</dcterms:modified>
</cp:coreProperties>
</file>